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2" r:id="rId4"/>
    <p:sldMasterId id="2147483699" r:id="rId5"/>
    <p:sldMasterId id="2147483707" r:id="rId6"/>
  </p:sldMasterIdLst>
  <p:notesMasterIdLst>
    <p:notesMasterId r:id="rId32"/>
  </p:notesMasterIdLst>
  <p:handoutMasterIdLst>
    <p:handoutMasterId r:id="rId33"/>
  </p:handoutMasterIdLst>
  <p:sldIdLst>
    <p:sldId id="2134804620" r:id="rId7"/>
    <p:sldId id="2134804842" r:id="rId8"/>
    <p:sldId id="2134804840" r:id="rId9"/>
    <p:sldId id="2134804867" r:id="rId10"/>
    <p:sldId id="2134804781" r:id="rId11"/>
    <p:sldId id="2134804869" r:id="rId12"/>
    <p:sldId id="2134804628" r:id="rId13"/>
    <p:sldId id="2134804759" r:id="rId14"/>
    <p:sldId id="2134804735" r:id="rId15"/>
    <p:sldId id="2134804696" r:id="rId16"/>
    <p:sldId id="2134804868" r:id="rId17"/>
    <p:sldId id="2134804605" r:id="rId18"/>
    <p:sldId id="2134804753" r:id="rId19"/>
    <p:sldId id="2134804760" r:id="rId20"/>
    <p:sldId id="2134804870" r:id="rId21"/>
    <p:sldId id="2134804787" r:id="rId22"/>
    <p:sldId id="2134804846" r:id="rId23"/>
    <p:sldId id="2134804844" r:id="rId24"/>
    <p:sldId id="2134804847" r:id="rId25"/>
    <p:sldId id="2134804848" r:id="rId26"/>
    <p:sldId id="2134804838" r:id="rId27"/>
    <p:sldId id="2134804839" r:id="rId28"/>
    <p:sldId id="2134804762" r:id="rId29"/>
    <p:sldId id="2134804721" r:id="rId30"/>
    <p:sldId id="2134804618" r:id="rId31"/>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ramer, Carrie" initials="CC" lastIdx="3" clrIdx="6">
    <p:extLst>
      <p:ext uri="{19B8F6BF-5375-455C-9EA6-DF929625EA0E}">
        <p15:presenceInfo xmlns:p15="http://schemas.microsoft.com/office/powerpoint/2012/main" userId="S::carrie.cramer@us.gt.com::b9499b0f-58d5-4856-986a-dca5ef6a123a" providerId="AD"/>
      </p:ext>
    </p:extLst>
  </p:cmAuthor>
  <p:cmAuthor id="1" name="Heffernan, Eric" initials="HE" lastIdx="7" clrIdx="0"/>
  <p:cmAuthor id="8" name="Brocato, Josie" initials="BJ" lastIdx="94" clrIdx="7">
    <p:extLst>
      <p:ext uri="{19B8F6BF-5375-455C-9EA6-DF929625EA0E}">
        <p15:presenceInfo xmlns:p15="http://schemas.microsoft.com/office/powerpoint/2012/main" userId="S::Josie.Brocato@us.gt.com::d25c4445-15b0-4aaf-bbf1-3c62c46111b0" providerId="AD"/>
      </p:ext>
    </p:extLst>
  </p:cmAuthor>
  <p:cmAuthor id="2" name="Iglesias, Anna" initials="IA" lastIdx="13" clrIdx="1"/>
  <p:cmAuthor id="9" name="LaurieDCole" initials="L" lastIdx="32" clrIdx="8">
    <p:extLst>
      <p:ext uri="{19B8F6BF-5375-455C-9EA6-DF929625EA0E}">
        <p15:presenceInfo xmlns:p15="http://schemas.microsoft.com/office/powerpoint/2012/main" userId="S::8156334048@GSA.GOV::34ad8bf0-9e14-4278-be86-370fbcee1093" providerId="AD"/>
      </p:ext>
    </p:extLst>
  </p:cmAuthor>
  <p:cmAuthor id="3" name="O'Connor, John" initials="OJ" lastIdx="11" clrIdx="2"/>
  <p:cmAuthor id="4" name="Terpilowski, Gavin" initials="TG" lastIdx="71" clrIdx="3"/>
  <p:cmAuthor id="5" name="Hadley, Melissa" initials="HM" lastIdx="24" clrIdx="4">
    <p:extLst>
      <p:ext uri="{19B8F6BF-5375-455C-9EA6-DF929625EA0E}">
        <p15:presenceInfo xmlns:p15="http://schemas.microsoft.com/office/powerpoint/2012/main" userId="S-1-5-21-507921405-362288127-725345543-271484" providerId="AD"/>
      </p:ext>
    </p:extLst>
  </p:cmAuthor>
  <p:cmAuthor id="6" name="Eisenrauch, Susanna (Chacko)" initials="ES(" lastIdx="17" clrIdx="5">
    <p:extLst>
      <p:ext uri="{19B8F6BF-5375-455C-9EA6-DF929625EA0E}">
        <p15:presenceInfo xmlns:p15="http://schemas.microsoft.com/office/powerpoint/2012/main" userId="S::Susanna.Eisenrauch@us.gt.com::c8c46284-c1cf-49fe-aba5-ea2dee64964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087"/>
    <a:srgbClr val="00498E"/>
    <a:srgbClr val="F7F7F7"/>
    <a:srgbClr val="8FC6DD"/>
    <a:srgbClr val="969594"/>
    <a:srgbClr val="1F497D"/>
    <a:srgbClr val="002989"/>
    <a:srgbClr val="EE5745"/>
    <a:srgbClr val="D161D1"/>
    <a:srgbClr val="1DA2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7B37E6-2324-42AD-87DE-E8B54360A09B}" v="4" dt="2022-06-27T16:29:17.4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47" d="100"/>
          <a:sy n="47" d="100"/>
        </p:scale>
        <p:origin x="-236" y="33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6/11/relationships/changesInfo" Target="changesInfos/changesInfo1.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ocato, Josie" userId="d25c4445-15b0-4aaf-bbf1-3c62c46111b0" providerId="ADAL" clId="{057B37E6-2324-42AD-87DE-E8B54360A09B}"/>
    <pc:docChg chg="modSld">
      <pc:chgData name="Brocato, Josie" userId="d25c4445-15b0-4aaf-bbf1-3c62c46111b0" providerId="ADAL" clId="{057B37E6-2324-42AD-87DE-E8B54360A09B}" dt="2022-06-27T16:29:17.465" v="3"/>
      <pc:docMkLst>
        <pc:docMk/>
      </pc:docMkLst>
      <pc:sldChg chg="modSp">
        <pc:chgData name="Brocato, Josie" userId="d25c4445-15b0-4aaf-bbf1-3c62c46111b0" providerId="ADAL" clId="{057B37E6-2324-42AD-87DE-E8B54360A09B}" dt="2022-06-27T16:28:42.574" v="2"/>
        <pc:sldMkLst>
          <pc:docMk/>
          <pc:sldMk cId="323960786" sldId="2134804867"/>
        </pc:sldMkLst>
        <pc:spChg chg="mod">
          <ac:chgData name="Brocato, Josie" userId="d25c4445-15b0-4aaf-bbf1-3c62c46111b0" providerId="ADAL" clId="{057B37E6-2324-42AD-87DE-E8B54360A09B}" dt="2022-06-27T16:28:42.574" v="2"/>
          <ac:spMkLst>
            <pc:docMk/>
            <pc:sldMk cId="323960786" sldId="2134804867"/>
            <ac:spMk id="18" creationId="{1A9D36EE-57BE-4399-A678-1F8C51660A46}"/>
          </ac:spMkLst>
        </pc:spChg>
        <pc:picChg chg="mod">
          <ac:chgData name="Brocato, Josie" userId="d25c4445-15b0-4aaf-bbf1-3c62c46111b0" providerId="ADAL" clId="{057B37E6-2324-42AD-87DE-E8B54360A09B}" dt="2022-06-27T16:28:28.441" v="1"/>
          <ac:picMkLst>
            <pc:docMk/>
            <pc:sldMk cId="323960786" sldId="2134804867"/>
            <ac:picMk id="14" creationId="{9CAAE58E-74B4-47D1-9AEB-DBFF5F960C38}"/>
          </ac:picMkLst>
        </pc:picChg>
        <pc:picChg chg="mod">
          <ac:chgData name="Brocato, Josie" userId="d25c4445-15b0-4aaf-bbf1-3c62c46111b0" providerId="ADAL" clId="{057B37E6-2324-42AD-87DE-E8B54360A09B}" dt="2022-06-27T16:28:21.823" v="0"/>
          <ac:picMkLst>
            <pc:docMk/>
            <pc:sldMk cId="323960786" sldId="2134804867"/>
            <ac:picMk id="17" creationId="{A151780B-C0C7-48DA-9AC5-539EE988EBD7}"/>
          </ac:picMkLst>
        </pc:picChg>
      </pc:sldChg>
      <pc:sldChg chg="modSp">
        <pc:chgData name="Brocato, Josie" userId="d25c4445-15b0-4aaf-bbf1-3c62c46111b0" providerId="ADAL" clId="{057B37E6-2324-42AD-87DE-E8B54360A09B}" dt="2022-06-27T16:29:17.465" v="3"/>
        <pc:sldMkLst>
          <pc:docMk/>
          <pc:sldMk cId="237421262" sldId="2134804869"/>
        </pc:sldMkLst>
        <pc:picChg chg="mod">
          <ac:chgData name="Brocato, Josie" userId="d25c4445-15b0-4aaf-bbf1-3c62c46111b0" providerId="ADAL" clId="{057B37E6-2324-42AD-87DE-E8B54360A09B}" dt="2022-06-27T16:29:17.465" v="3"/>
          <ac:picMkLst>
            <pc:docMk/>
            <pc:sldMk cId="237421262" sldId="2134804869"/>
            <ac:picMk id="14" creationId="{9CAAE58E-74B4-47D1-9AEB-DBFF5F960C38}"/>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4C287B1-A2D7-4E4B-8C63-6335740DB7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B233E2D-9A9E-4B3E-8CCE-84368DB9B0B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017761-D211-40AB-9B1F-98004A1A679E}" type="datetimeFigureOut">
              <a:rPr lang="en-US" smtClean="0"/>
              <a:t>6/27/2022</a:t>
            </a:fld>
            <a:endParaRPr lang="en-US"/>
          </a:p>
        </p:txBody>
      </p:sp>
      <p:sp>
        <p:nvSpPr>
          <p:cNvPr id="4" name="Footer Placeholder 3">
            <a:extLst>
              <a:ext uri="{FF2B5EF4-FFF2-40B4-BE49-F238E27FC236}">
                <a16:creationId xmlns:a16="http://schemas.microsoft.com/office/drawing/2014/main" id="{2E25A623-972F-4FF9-ADEC-3557DF0E856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1D2352B-2974-43AF-922E-DDC3E471165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F510F9-93B1-4F39-82AE-5977BC28F5A8}" type="slidenum">
              <a:rPr lang="en-US" smtClean="0"/>
              <a:t>‹#›</a:t>
            </a:fld>
            <a:endParaRPr lang="en-US"/>
          </a:p>
        </p:txBody>
      </p:sp>
    </p:spTree>
    <p:extLst>
      <p:ext uri="{BB962C8B-B14F-4D97-AF65-F5344CB8AC3E}">
        <p14:creationId xmlns:p14="http://schemas.microsoft.com/office/powerpoint/2010/main" val="1348759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944148463"/>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7387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172F68-46BE-4E4F-BC35-90DC52F2F3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241856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172F68-46BE-4E4F-BC35-90DC52F2F3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558534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172F68-46BE-4E4F-BC35-90DC52F2F3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1320802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172F68-46BE-4E4F-BC35-90DC52F2F3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963654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85529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ir main goal is to improve service delivery, enhance customer satisfaction, and create high value wor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172F68-46BE-4E4F-BC35-90DC52F2F3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107696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0076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8500570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ir main goal is to improve service delivery, enhance customer satisfaction, and create high value wor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172F68-46BE-4E4F-BC35-90DC52F2F3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5773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455199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132947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172F68-46BE-4E4F-BC35-90DC52F2F3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5100677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172F68-46BE-4E4F-BC35-90DC52F2F3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5039093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205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Title 4"/>
          <p:cNvSpPr>
            <a:spLocks noGrp="1"/>
          </p:cNvSpPr>
          <p:nvPr>
            <p:ph type="title"/>
          </p:nvPr>
        </p:nvSpPr>
        <p:spPr>
          <a:xfrm>
            <a:off x="460992" y="3080200"/>
            <a:ext cx="11418080" cy="583236"/>
          </a:xfrm>
          <a:prstGeom prst="rect">
            <a:avLst/>
          </a:prstGeom>
        </p:spPr>
        <p:txBody>
          <a:bodyPr lIns="91440" tIns="45720" rIns="91440" bIns="45720"/>
          <a:lstStyle>
            <a:lvl1pPr algn="l">
              <a:defRPr sz="1800" b="1">
                <a:solidFill>
                  <a:schemeClr val="tx1"/>
                </a:solidFill>
                <a:latin typeface="+mj-lt"/>
                <a:ea typeface="+mj-ea"/>
                <a:cs typeface="+mj-cs"/>
                <a:sym typeface="+mj-lt"/>
              </a:defRPr>
            </a:lvl1pPr>
          </a:lstStyle>
          <a:p>
            <a:r>
              <a:rPr lang="en-US"/>
              <a:t>Click to edit Master title style</a:t>
            </a:r>
          </a:p>
        </p:txBody>
      </p:sp>
      <p:sp>
        <p:nvSpPr>
          <p:cNvPr id="12" name="Text Placeholder 11"/>
          <p:cNvSpPr>
            <a:spLocks noGrp="1"/>
          </p:cNvSpPr>
          <p:nvPr>
            <p:ph type="body" sz="quarter" idx="13" hasCustomPrompt="1"/>
          </p:nvPr>
        </p:nvSpPr>
        <p:spPr>
          <a:xfrm>
            <a:off x="460992" y="3768400"/>
            <a:ext cx="11418080" cy="506412"/>
          </a:xfrm>
          <a:prstGeom prst="rect">
            <a:avLst/>
          </a:prstGeom>
        </p:spPr>
        <p:txBody>
          <a:bodyPr>
            <a:normAutofit/>
          </a:bodyPr>
          <a:lstStyle>
            <a:lvl1pPr>
              <a:defRPr sz="1500">
                <a:latin typeface="+mn-lt"/>
                <a:ea typeface="+mn-ea"/>
                <a:cs typeface="+mn-cs"/>
                <a:sym typeface="+mn-lt"/>
              </a:defRPr>
            </a:lvl1pPr>
          </a:lstStyle>
          <a:p>
            <a:pPr lvl="0"/>
            <a:r>
              <a:rPr lang="en-US"/>
              <a:t>Date</a:t>
            </a:r>
          </a:p>
        </p:txBody>
      </p:sp>
      <p:grpSp>
        <p:nvGrpSpPr>
          <p:cNvPr id="15" name="Group 14"/>
          <p:cNvGrpSpPr/>
          <p:nvPr userDrawn="1"/>
        </p:nvGrpSpPr>
        <p:grpSpPr>
          <a:xfrm>
            <a:off x="460994" y="1150878"/>
            <a:ext cx="2203831" cy="1775053"/>
            <a:chOff x="5848709" y="897145"/>
            <a:chExt cx="1859683" cy="1328469"/>
          </a:xfrm>
        </p:grpSpPr>
        <p:sp>
          <p:nvSpPr>
            <p:cNvPr id="24" name="Rectangle 23"/>
            <p:cNvSpPr/>
            <p:nvPr/>
          </p:nvSpPr>
          <p:spPr>
            <a:xfrm>
              <a:off x="5848709" y="992036"/>
              <a:ext cx="1859683" cy="1138687"/>
            </a:xfrm>
            <a:prstGeom prst="rect">
              <a:avLst/>
            </a:prstGeom>
            <a:noFill/>
            <a:ln w="9525"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17519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700">
                  <a:solidFill>
                    <a:srgbClr val="175191"/>
                  </a:solidFill>
                  <a:latin typeface="+mn-lt"/>
                  <a:ea typeface="+mn-ea"/>
                  <a:cs typeface="+mn-cs"/>
                  <a:sym typeface="+mn-lt"/>
                </a:rPr>
                <a:t>Grants QSMO</a:t>
              </a:r>
            </a:p>
          </p:txBody>
        </p:sp>
        <p:cxnSp>
          <p:nvCxnSpPr>
            <p:cNvPr id="25" name="Straight Connector 24"/>
            <p:cNvCxnSpPr/>
            <p:nvPr/>
          </p:nvCxnSpPr>
          <p:spPr>
            <a:xfrm>
              <a:off x="5848709" y="974784"/>
              <a:ext cx="1859683" cy="0"/>
            </a:xfrm>
            <a:prstGeom prst="line">
              <a:avLst/>
            </a:prstGeom>
            <a:ln w="57150" cap="flat" cmpd="sng" algn="ctr">
              <a:solidFill>
                <a:srgbClr val="E31C3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848709" y="897145"/>
              <a:ext cx="1859683" cy="0"/>
            </a:xfrm>
            <a:prstGeom prst="line">
              <a:avLst/>
            </a:prstGeom>
            <a:ln w="28575" cap="flat" cmpd="sng" algn="ctr">
              <a:solidFill>
                <a:srgbClr val="E31C3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flipV="1">
              <a:off x="5848709" y="2147975"/>
              <a:ext cx="1859683" cy="77639"/>
              <a:chOff x="6001109" y="1049545"/>
              <a:chExt cx="1613139" cy="77639"/>
            </a:xfrm>
          </p:grpSpPr>
          <p:cxnSp>
            <p:nvCxnSpPr>
              <p:cNvPr id="29" name="Straight Connector 28"/>
              <p:cNvCxnSpPr/>
              <p:nvPr/>
            </p:nvCxnSpPr>
            <p:spPr>
              <a:xfrm>
                <a:off x="6001109" y="1127184"/>
                <a:ext cx="1613139" cy="0"/>
              </a:xfrm>
              <a:prstGeom prst="line">
                <a:avLst/>
              </a:prstGeom>
              <a:ln w="57150" cap="flat" cmpd="sng" algn="ctr">
                <a:solidFill>
                  <a:srgbClr val="E31C3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001109" y="1049545"/>
                <a:ext cx="1613139" cy="0"/>
              </a:xfrm>
              <a:prstGeom prst="line">
                <a:avLst/>
              </a:prstGeom>
              <a:ln w="28575" cap="flat" cmpd="sng" algn="ctr">
                <a:solidFill>
                  <a:srgbClr val="E31C3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16" name="TextBox 15"/>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7"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1570216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Disscussion Dra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26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12" name="Rectangle 9"/>
          <p:cNvSpPr>
            <a:spLocks noChangeArrowheads="1"/>
          </p:cNvSpPr>
          <p:nvPr userDrawn="1"/>
        </p:nvSpPr>
        <p:spPr bwMode="auto">
          <a:xfrm>
            <a:off x="0" y="6500816"/>
            <a:ext cx="11887200" cy="371475"/>
          </a:xfrm>
          <a:prstGeom prst="rect">
            <a:avLst/>
          </a:prstGeom>
          <a:solidFill>
            <a:schemeClr val="tx2"/>
          </a:solidFill>
          <a:ln w="3175">
            <a:noFill/>
            <a:miter lim="800000"/>
            <a:headEnd/>
            <a:tailEnd/>
          </a:ln>
          <a:effectLst>
            <a:outerShdw dist="85194" dir="20006097" algn="ctr" rotWithShape="0">
              <a:srgbClr val="C0C0C0"/>
            </a:outerShdw>
          </a:effectLst>
        </p:spPr>
        <p:txBody>
          <a:bodyPr wrap="none" anchor="ctr"/>
          <a:lstStyle/>
          <a:p>
            <a:pPr>
              <a:defRPr/>
            </a:pPr>
            <a:endParaRPr lang="en-US" sz="1350">
              <a:solidFill>
                <a:srgbClr val="000000"/>
              </a:solidFill>
              <a:latin typeface="+mn-lt"/>
              <a:ea typeface="+mn-ea"/>
              <a:cs typeface="+mn-cs"/>
              <a:sym typeface="+mn-lt"/>
            </a:endParaRPr>
          </a:p>
        </p:txBody>
      </p:sp>
      <p:sp>
        <p:nvSpPr>
          <p:cNvPr id="13" name="Rectangle 11"/>
          <p:cNvSpPr>
            <a:spLocks noChangeArrowheads="1"/>
          </p:cNvSpPr>
          <p:nvPr userDrawn="1"/>
        </p:nvSpPr>
        <p:spPr bwMode="auto">
          <a:xfrm>
            <a:off x="2" y="0"/>
            <a:ext cx="10922209" cy="660400"/>
          </a:xfrm>
          <a:prstGeom prst="rect">
            <a:avLst/>
          </a:prstGeom>
          <a:solidFill>
            <a:srgbClr val="175191"/>
          </a:solidFill>
          <a:ln w="9525">
            <a:noFill/>
            <a:miter lim="800000"/>
            <a:headEnd/>
            <a:tailEnd/>
          </a:ln>
          <a:effectLst/>
        </p:spPr>
        <p:txBody>
          <a:bodyPr wrap="none" anchor="ctr"/>
          <a:lstStyle/>
          <a:p>
            <a:pPr>
              <a:defRPr/>
            </a:pPr>
            <a:endParaRPr lang="en-US" sz="1800">
              <a:solidFill>
                <a:srgbClr val="000000"/>
              </a:solidFill>
              <a:latin typeface="+mn-lt"/>
              <a:ea typeface="+mn-ea"/>
              <a:cs typeface="+mn-cs"/>
              <a:sym typeface="+mn-lt"/>
            </a:endParaRPr>
          </a:p>
        </p:txBody>
      </p:sp>
      <p:sp>
        <p:nvSpPr>
          <p:cNvPr id="15" name="TextBox 14"/>
          <p:cNvSpPr txBox="1"/>
          <p:nvPr userDrawn="1"/>
        </p:nvSpPr>
        <p:spPr>
          <a:xfrm>
            <a:off x="11302996" y="6657633"/>
            <a:ext cx="381000" cy="86627"/>
          </a:xfrm>
          <a:prstGeom prst="rect">
            <a:avLst/>
          </a:prstGeom>
          <a:noFill/>
        </p:spPr>
        <p:txBody>
          <a:bodyPr wrap="square" lIns="0" tIns="0" rIns="0" bIns="0" rtlCol="0" anchor="b">
            <a:spAutoFit/>
          </a:bodyPr>
          <a:lstStyle/>
          <a:p>
            <a:pPr marL="0" marR="0" indent="0" algn="r" defTabSz="514350" rtl="0" eaLnBrk="1" fontAlgn="auto" latinLnBrk="0" hangingPunct="1">
              <a:lnSpc>
                <a:spcPct val="100000"/>
              </a:lnSpc>
              <a:spcBef>
                <a:spcPts val="0"/>
              </a:spcBef>
              <a:spcAft>
                <a:spcPts val="0"/>
              </a:spcAft>
              <a:buClrTx/>
              <a:buSzTx/>
              <a:buFontTx/>
              <a:buNone/>
              <a:tabLst/>
              <a:defRPr/>
            </a:pPr>
            <a:fld id="{DFCF27A5-1A5B-48D3-A060-2758FFBB1ADD}" type="slidenum">
              <a:rPr lang="en-US" sz="563" kern="1200" smtClean="0">
                <a:solidFill>
                  <a:schemeClr val="bg1"/>
                </a:solidFill>
                <a:latin typeface="+mn-lt"/>
                <a:ea typeface="+mn-ea"/>
                <a:cs typeface="+mn-cs"/>
                <a:sym typeface="+mn-lt"/>
              </a:rPr>
              <a:pPr marL="0" marR="0" indent="0" algn="r" defTabSz="514350" rtl="0" eaLnBrk="1" fontAlgn="auto" latinLnBrk="0" hangingPunct="1">
                <a:lnSpc>
                  <a:spcPct val="100000"/>
                </a:lnSpc>
                <a:spcBef>
                  <a:spcPts val="0"/>
                </a:spcBef>
                <a:spcAft>
                  <a:spcPts val="0"/>
                </a:spcAft>
                <a:buClrTx/>
                <a:buSzTx/>
                <a:buFontTx/>
                <a:buNone/>
                <a:tabLst/>
                <a:defRPr/>
              </a:pPr>
              <a:t>‹#›</a:t>
            </a:fld>
            <a:endParaRPr lang="en-US" sz="563" kern="1200">
              <a:solidFill>
                <a:schemeClr val="bg1"/>
              </a:solidFill>
              <a:latin typeface="+mn-lt"/>
              <a:ea typeface="+mn-ea"/>
              <a:cs typeface="+mn-cs"/>
              <a:sym typeface="+mn-lt"/>
            </a:endParaRPr>
          </a:p>
        </p:txBody>
      </p:sp>
      <p:pic>
        <p:nvPicPr>
          <p:cNvPr id="9" name="Picture 8"/>
          <p:cNvPicPr>
            <a:picLocks noChangeAspect="1"/>
          </p:cNvPicPr>
          <p:nvPr userDrawn="1"/>
        </p:nvPicPr>
        <p:blipFill rotWithShape="1">
          <a:blip r:embed="rId6"/>
          <a:srcRect l="7316" r="12810" b="8961"/>
          <a:stretch/>
        </p:blipFill>
        <p:spPr>
          <a:xfrm>
            <a:off x="11299528" y="110599"/>
            <a:ext cx="587672" cy="491461"/>
          </a:xfrm>
          <a:prstGeom prst="rect">
            <a:avLst/>
          </a:prstGeom>
        </p:spPr>
      </p:pic>
      <p:sp>
        <p:nvSpPr>
          <p:cNvPr id="11" name="TextBox 10"/>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4"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18475601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BA94305-BA50-46EF-A356-347DC680FCBB}"/>
              </a:ext>
            </a:extLst>
          </p:cNvPr>
          <p:cNvSpPr/>
          <p:nvPr userDrawn="1"/>
        </p:nvSpPr>
        <p:spPr>
          <a:xfrm>
            <a:off x="340822" y="120769"/>
            <a:ext cx="1600121" cy="1562123"/>
          </a:xfrm>
          <a:prstGeom prst="rect">
            <a:avLst/>
          </a:prstGeom>
          <a:solidFill>
            <a:schemeClr val="tx1"/>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2C3F511-28A3-47F6-96BF-62E7236F8D75}"/>
              </a:ext>
            </a:extLst>
          </p:cNvPr>
          <p:cNvSpPr/>
          <p:nvPr userDrawn="1"/>
        </p:nvSpPr>
        <p:spPr>
          <a:xfrm>
            <a:off x="340822" y="1852577"/>
            <a:ext cx="1600121" cy="4884654"/>
          </a:xfrm>
          <a:prstGeom prst="rect">
            <a:avLst/>
          </a:prstGeom>
          <a:solidFill>
            <a:schemeClr val="tx1"/>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F113FD1E-188E-4308-96DF-4EDF2ED06415}"/>
              </a:ext>
            </a:extLst>
          </p:cNvPr>
          <p:cNvSpPr>
            <a:spLocks noGrp="1"/>
          </p:cNvSpPr>
          <p:nvPr>
            <p:ph type="title"/>
          </p:nvPr>
        </p:nvSpPr>
        <p:spPr>
          <a:xfrm>
            <a:off x="2147709" y="1700886"/>
            <a:ext cx="8729932" cy="1325563"/>
          </a:xfrm>
          <a:prstGeom prst="rect">
            <a:avLst/>
          </a:prstGeom>
        </p:spPr>
        <p:txBody>
          <a:bodyPr>
            <a:normAutofit/>
          </a:bodyPr>
          <a:lstStyle>
            <a:lvl1pPr>
              <a:defRPr sz="3200" b="1">
                <a:solidFill>
                  <a:schemeClr val="tx1"/>
                </a:solidFill>
              </a:defRPr>
            </a:lvl1pPr>
          </a:lstStyle>
          <a:p>
            <a:r>
              <a:rPr lang="en-US"/>
              <a:t>Click to edit Master title style</a:t>
            </a:r>
          </a:p>
        </p:txBody>
      </p:sp>
      <p:pic>
        <p:nvPicPr>
          <p:cNvPr id="12" name="Picture 11">
            <a:extLst>
              <a:ext uri="{FF2B5EF4-FFF2-40B4-BE49-F238E27FC236}">
                <a16:creationId xmlns:a16="http://schemas.microsoft.com/office/drawing/2014/main" id="{906F3C36-E908-4F51-A3B7-F01AC15F556C}"/>
              </a:ext>
            </a:extLst>
          </p:cNvPr>
          <p:cNvPicPr>
            <a:picLocks noChangeAspect="1"/>
          </p:cNvPicPr>
          <p:nvPr userDrawn="1"/>
        </p:nvPicPr>
        <p:blipFill rotWithShape="1">
          <a:blip r:embed="rId2"/>
          <a:srcRect l="7767" t="12415" r="7486" b="14573"/>
          <a:stretch/>
        </p:blipFill>
        <p:spPr>
          <a:xfrm>
            <a:off x="615352" y="6220195"/>
            <a:ext cx="1015040" cy="526939"/>
          </a:xfrm>
          <a:prstGeom prst="rect">
            <a:avLst/>
          </a:prstGeom>
        </p:spPr>
      </p:pic>
      <p:sp>
        <p:nvSpPr>
          <p:cNvPr id="11" name="Content Placeholder 8">
            <a:extLst>
              <a:ext uri="{FF2B5EF4-FFF2-40B4-BE49-F238E27FC236}">
                <a16:creationId xmlns:a16="http://schemas.microsoft.com/office/drawing/2014/main" id="{B7423CB5-90DE-4741-AAED-4A0B41EE0486}"/>
              </a:ext>
            </a:extLst>
          </p:cNvPr>
          <p:cNvSpPr>
            <a:spLocks noGrp="1"/>
          </p:cNvSpPr>
          <p:nvPr>
            <p:ph sz="quarter" idx="11" hasCustomPrompt="1"/>
          </p:nvPr>
        </p:nvSpPr>
        <p:spPr>
          <a:xfrm>
            <a:off x="2147709" y="3651985"/>
            <a:ext cx="8705569" cy="1541058"/>
          </a:xfrm>
          <a:prstGeom prst="rect">
            <a:avLst/>
          </a:prstGeom>
        </p:spPr>
        <p:txBody>
          <a:bodyPr/>
          <a:lstStyle>
            <a:lvl1pPr marL="0" indent="0">
              <a:buNone/>
              <a:defRPr sz="2400" i="1">
                <a:solidFill>
                  <a:schemeClr val="tx1"/>
                </a:solidFill>
              </a:defRPr>
            </a:lvl1pPr>
            <a:lvl2pPr marL="457200" indent="0">
              <a:buNone/>
              <a:defRPr sz="1800" i="1">
                <a:solidFill>
                  <a:schemeClr val="tx1"/>
                </a:solidFill>
              </a:defRPr>
            </a:lvl2pPr>
            <a:lvl3pPr>
              <a:defRPr sz="1600">
                <a:solidFill>
                  <a:srgbClr val="005087"/>
                </a:solidFill>
              </a:defRPr>
            </a:lvl3pPr>
            <a:lvl4pPr>
              <a:defRPr sz="1600">
                <a:solidFill>
                  <a:srgbClr val="005087"/>
                </a:solidFill>
              </a:defRPr>
            </a:lvl4pPr>
            <a:lvl5pPr>
              <a:defRPr sz="1400">
                <a:solidFill>
                  <a:srgbClr val="005087"/>
                </a:solidFill>
              </a:defRPr>
            </a:lvl5pPr>
          </a:lstStyle>
          <a:p>
            <a:pPr lvl="0"/>
            <a:r>
              <a:rPr lang="en-US"/>
              <a:t>Secondary Title</a:t>
            </a:r>
          </a:p>
        </p:txBody>
      </p:sp>
    </p:spTree>
    <p:extLst>
      <p:ext uri="{BB962C8B-B14F-4D97-AF65-F5344CB8AC3E}">
        <p14:creationId xmlns:p14="http://schemas.microsoft.com/office/powerpoint/2010/main" val="698728992"/>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4513C0-7044-4145-9168-AEB2AD6EA661}"/>
              </a:ext>
            </a:extLst>
          </p:cNvPr>
          <p:cNvSpPr/>
          <p:nvPr userDrawn="1"/>
        </p:nvSpPr>
        <p:spPr>
          <a:xfrm>
            <a:off x="340822" y="1852577"/>
            <a:ext cx="1600121" cy="4884654"/>
          </a:xfrm>
          <a:prstGeom prst="rect">
            <a:avLst/>
          </a:prstGeom>
          <a:solidFill>
            <a:schemeClr val="tx1"/>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7566D10-1D58-4F04-BA36-E0FD4D0A4D42}"/>
              </a:ext>
            </a:extLst>
          </p:cNvPr>
          <p:cNvSpPr/>
          <p:nvPr userDrawn="1"/>
        </p:nvSpPr>
        <p:spPr>
          <a:xfrm>
            <a:off x="340822" y="120769"/>
            <a:ext cx="1600121" cy="1562123"/>
          </a:xfrm>
          <a:prstGeom prst="rect">
            <a:avLst/>
          </a:prstGeom>
          <a:solidFill>
            <a:schemeClr val="tx1"/>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98E2B02-9E0D-464F-B0EB-23A4C9DEB2DF}"/>
              </a:ext>
            </a:extLst>
          </p:cNvPr>
          <p:cNvPicPr>
            <a:picLocks noChangeAspect="1"/>
          </p:cNvPicPr>
          <p:nvPr userDrawn="1"/>
        </p:nvPicPr>
        <p:blipFill rotWithShape="1">
          <a:blip r:embed="rId2"/>
          <a:srcRect l="7767" t="12415" r="7486" b="14573"/>
          <a:stretch/>
        </p:blipFill>
        <p:spPr>
          <a:xfrm>
            <a:off x="615352" y="6220195"/>
            <a:ext cx="1015040" cy="526939"/>
          </a:xfrm>
          <a:prstGeom prst="rect">
            <a:avLst/>
          </a:prstGeom>
        </p:spPr>
      </p:pic>
      <p:sp>
        <p:nvSpPr>
          <p:cNvPr id="6" name="Title 4">
            <a:extLst>
              <a:ext uri="{FF2B5EF4-FFF2-40B4-BE49-F238E27FC236}">
                <a16:creationId xmlns:a16="http://schemas.microsoft.com/office/drawing/2014/main" id="{8FAB8476-10B5-434F-9E76-125508F6EFDE}"/>
              </a:ext>
            </a:extLst>
          </p:cNvPr>
          <p:cNvSpPr>
            <a:spLocks noGrp="1"/>
          </p:cNvSpPr>
          <p:nvPr>
            <p:ph type="title"/>
          </p:nvPr>
        </p:nvSpPr>
        <p:spPr>
          <a:xfrm>
            <a:off x="2147709" y="1700886"/>
            <a:ext cx="8729932" cy="1325563"/>
          </a:xfrm>
          <a:prstGeom prst="rect">
            <a:avLst/>
          </a:prstGeom>
        </p:spPr>
        <p:txBody>
          <a:bodyPr>
            <a:normAutofit/>
          </a:bodyPr>
          <a:lstStyle>
            <a:lvl1pPr>
              <a:defRPr sz="3200" b="1">
                <a:solidFill>
                  <a:schemeClr val="tx1"/>
                </a:solidFill>
              </a:defRPr>
            </a:lvl1pPr>
          </a:lstStyle>
          <a:p>
            <a:r>
              <a:rPr lang="en-US"/>
              <a:t>Click to edit Master title style</a:t>
            </a:r>
          </a:p>
        </p:txBody>
      </p:sp>
    </p:spTree>
    <p:extLst>
      <p:ext uri="{BB962C8B-B14F-4D97-AF65-F5344CB8AC3E}">
        <p14:creationId xmlns:p14="http://schemas.microsoft.com/office/powerpoint/2010/main" val="4009768558"/>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F949B9B-05C9-4C11-A73E-1C91883D510D}"/>
              </a:ext>
            </a:extLst>
          </p:cNvPr>
          <p:cNvSpPr/>
          <p:nvPr userDrawn="1"/>
        </p:nvSpPr>
        <p:spPr>
          <a:xfrm>
            <a:off x="0" y="1447026"/>
            <a:ext cx="2176670" cy="49695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a:t>Contents</a:t>
            </a:r>
            <a:endParaRPr lang="en-US" sz="1600"/>
          </a:p>
        </p:txBody>
      </p:sp>
      <p:sp>
        <p:nvSpPr>
          <p:cNvPr id="15" name="Footer Placeholder 14">
            <a:extLst>
              <a:ext uri="{FF2B5EF4-FFF2-40B4-BE49-F238E27FC236}">
                <a16:creationId xmlns:a16="http://schemas.microsoft.com/office/drawing/2014/main" id="{289BE6EF-BEDC-496E-9054-1CA752C3D363}"/>
              </a:ext>
            </a:extLst>
          </p:cNvPr>
          <p:cNvSpPr>
            <a:spLocks noGrp="1"/>
          </p:cNvSpPr>
          <p:nvPr>
            <p:ph type="ftr" sz="quarter" idx="13"/>
          </p:nvPr>
        </p:nvSpPr>
        <p:spPr/>
        <p:txBody>
          <a:bodyPr/>
          <a:lstStyle/>
          <a:p>
            <a:r>
              <a:rPr lang="en-US"/>
              <a:t>Deliverable title</a:t>
            </a:r>
          </a:p>
        </p:txBody>
      </p:sp>
      <p:sp>
        <p:nvSpPr>
          <p:cNvPr id="17" name="Slide Number Placeholder 16">
            <a:extLst>
              <a:ext uri="{FF2B5EF4-FFF2-40B4-BE49-F238E27FC236}">
                <a16:creationId xmlns:a16="http://schemas.microsoft.com/office/drawing/2014/main" id="{D6FB644C-5E53-40F9-B089-1D69AF08DEB5}"/>
              </a:ext>
            </a:extLst>
          </p:cNvPr>
          <p:cNvSpPr>
            <a:spLocks noGrp="1"/>
          </p:cNvSpPr>
          <p:nvPr>
            <p:ph type="sldNum" idx="14"/>
          </p:nvPr>
        </p:nvSpPr>
        <p:spPr/>
        <p:txBody>
          <a:bodyPr/>
          <a:lstStyle/>
          <a:p>
            <a:fld id="{00000000-1234-1234-1234-123412341234}" type="slidenum">
              <a:rPr lang="en" smtClean="0"/>
              <a:pPr/>
              <a:t>‹#›</a:t>
            </a:fld>
            <a:endParaRPr lang="en"/>
          </a:p>
        </p:txBody>
      </p:sp>
      <p:sp>
        <p:nvSpPr>
          <p:cNvPr id="22" name="Text Placeholder 21">
            <a:extLst>
              <a:ext uri="{FF2B5EF4-FFF2-40B4-BE49-F238E27FC236}">
                <a16:creationId xmlns:a16="http://schemas.microsoft.com/office/drawing/2014/main" id="{46D964B2-8F5D-4BF2-90C0-82860E035F76}"/>
              </a:ext>
            </a:extLst>
          </p:cNvPr>
          <p:cNvSpPr>
            <a:spLocks noGrp="1"/>
          </p:cNvSpPr>
          <p:nvPr>
            <p:ph type="body" sz="quarter" idx="19"/>
          </p:nvPr>
        </p:nvSpPr>
        <p:spPr>
          <a:xfrm>
            <a:off x="638355" y="2088244"/>
            <a:ext cx="10937695" cy="3846730"/>
          </a:xfrm>
          <a:prstGeom prst="rect">
            <a:avLst/>
          </a:prstGeom>
        </p:spPr>
        <p:txBody>
          <a:bodyPr/>
          <a:lstStyle>
            <a:lvl1pPr marL="0" indent="0">
              <a:spcBef>
                <a:spcPts val="1200"/>
              </a:spcBef>
              <a:buNone/>
              <a:defRPr sz="1800">
                <a:solidFill>
                  <a:schemeClr val="tx1"/>
                </a:solidFill>
              </a:defRPr>
            </a:lvl1pPr>
            <a:lvl2pPr marL="457200" indent="0">
              <a:spcBef>
                <a:spcPts val="1200"/>
              </a:spcBef>
              <a:buNone/>
              <a:defRPr sz="1800">
                <a:solidFill>
                  <a:schemeClr val="tx1"/>
                </a:solidFill>
              </a:defRPr>
            </a:lvl2pPr>
            <a:lvl3pPr marL="914400" indent="0">
              <a:spcBef>
                <a:spcPts val="1200"/>
              </a:spcBef>
              <a:buNone/>
              <a:defRPr sz="1800">
                <a:solidFill>
                  <a:schemeClr val="tx1"/>
                </a:solidFill>
              </a:defRPr>
            </a:lvl3pPr>
            <a:lvl4pPr marL="1371600" indent="0">
              <a:spcBef>
                <a:spcPts val="1200"/>
              </a:spcBef>
              <a:buNone/>
              <a:defRPr sz="1800">
                <a:solidFill>
                  <a:schemeClr val="tx1"/>
                </a:solidFill>
              </a:defRPr>
            </a:lvl4pPr>
            <a:lvl5pPr marL="1828800" indent="0">
              <a:spcBef>
                <a:spcPts val="1200"/>
              </a:spcBef>
              <a:buNone/>
              <a:defRPr sz="1800">
                <a:solidFill>
                  <a:schemeClr val="tx1"/>
                </a:solidFill>
              </a:defRPr>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p>
        </p:txBody>
      </p:sp>
      <p:cxnSp>
        <p:nvCxnSpPr>
          <p:cNvPr id="8" name="Straight Connector 7">
            <a:extLst>
              <a:ext uri="{FF2B5EF4-FFF2-40B4-BE49-F238E27FC236}">
                <a16:creationId xmlns:a16="http://schemas.microsoft.com/office/drawing/2014/main" id="{8062267A-2D86-4AEB-B62D-00C77142E605}"/>
              </a:ext>
            </a:extLst>
          </p:cNvPr>
          <p:cNvCxnSpPr>
            <a:cxnSpLocks/>
          </p:cNvCxnSpPr>
          <p:nvPr userDrawn="1"/>
        </p:nvCxnSpPr>
        <p:spPr>
          <a:xfrm>
            <a:off x="638355" y="918381"/>
            <a:ext cx="11553645"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sp>
        <p:nvSpPr>
          <p:cNvPr id="9" name="Title Placeholder 1">
            <a:extLst>
              <a:ext uri="{FF2B5EF4-FFF2-40B4-BE49-F238E27FC236}">
                <a16:creationId xmlns:a16="http://schemas.microsoft.com/office/drawing/2014/main" id="{A42F7275-5A93-4DBB-9AD5-D4B54F2B5D18}"/>
              </a:ext>
            </a:extLst>
          </p:cNvPr>
          <p:cNvSpPr>
            <a:spLocks noGrp="1"/>
          </p:cNvSpPr>
          <p:nvPr>
            <p:ph type="title"/>
          </p:nvPr>
        </p:nvSpPr>
        <p:spPr>
          <a:xfrm>
            <a:off x="638355" y="330621"/>
            <a:ext cx="10938293" cy="855691"/>
          </a:xfrm>
          <a:prstGeom prst="rect">
            <a:avLst/>
          </a:prstGeom>
        </p:spPr>
        <p:txBody>
          <a:bodyPr vert="horz" lIns="91440" tIns="45720" rIns="91440" bIns="45720" rtlCol="0" anchor="ctr">
            <a:normAutofit/>
          </a:bodyPr>
          <a:lstStyle>
            <a:lvl1pPr>
              <a:defRPr sz="3200" b="1"/>
            </a:lvl1pPr>
          </a:lstStyle>
          <a:p>
            <a:endParaRPr lang="en-US"/>
          </a:p>
        </p:txBody>
      </p:sp>
    </p:spTree>
    <p:extLst>
      <p:ext uri="{BB962C8B-B14F-4D97-AF65-F5344CB8AC3E}">
        <p14:creationId xmlns:p14="http://schemas.microsoft.com/office/powerpoint/2010/main" val="415636102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99359260-2FA3-4EB5-8D01-28D7BED5A988}"/>
              </a:ext>
            </a:extLst>
          </p:cNvPr>
          <p:cNvCxnSpPr>
            <a:cxnSpLocks/>
          </p:cNvCxnSpPr>
          <p:nvPr userDrawn="1"/>
        </p:nvCxnSpPr>
        <p:spPr>
          <a:xfrm>
            <a:off x="638355" y="918381"/>
            <a:ext cx="11553645"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sp>
        <p:nvSpPr>
          <p:cNvPr id="11" name="Title Placeholder 1">
            <a:extLst>
              <a:ext uri="{FF2B5EF4-FFF2-40B4-BE49-F238E27FC236}">
                <a16:creationId xmlns:a16="http://schemas.microsoft.com/office/drawing/2014/main" id="{32B175DC-5125-4FA4-941D-EFC9BD3010CE}"/>
              </a:ext>
            </a:extLst>
          </p:cNvPr>
          <p:cNvSpPr>
            <a:spLocks noGrp="1"/>
          </p:cNvSpPr>
          <p:nvPr>
            <p:ph type="title"/>
          </p:nvPr>
        </p:nvSpPr>
        <p:spPr>
          <a:xfrm>
            <a:off x="638355" y="330621"/>
            <a:ext cx="10938293" cy="855691"/>
          </a:xfrm>
          <a:prstGeom prst="rect">
            <a:avLst/>
          </a:prstGeom>
        </p:spPr>
        <p:txBody>
          <a:bodyPr vert="horz" lIns="91440" tIns="45720" rIns="91440" bIns="45720" rtlCol="0" anchor="ctr">
            <a:normAutofit/>
          </a:bodyPr>
          <a:lstStyle>
            <a:lvl1pPr>
              <a:defRPr sz="3200" b="1"/>
            </a:lvl1pPr>
          </a:lstStyle>
          <a:p>
            <a:endParaRPr lang="en-US"/>
          </a:p>
        </p:txBody>
      </p:sp>
      <p:sp>
        <p:nvSpPr>
          <p:cNvPr id="13" name="Slide Number Placeholder 12">
            <a:extLst>
              <a:ext uri="{FF2B5EF4-FFF2-40B4-BE49-F238E27FC236}">
                <a16:creationId xmlns:a16="http://schemas.microsoft.com/office/drawing/2014/main" id="{0B1AA2D0-ECC7-48A4-A46C-CEABDDF7C7D5}"/>
              </a:ext>
            </a:extLst>
          </p:cNvPr>
          <p:cNvSpPr>
            <a:spLocks noGrp="1"/>
          </p:cNvSpPr>
          <p:nvPr>
            <p:ph type="sldNum" idx="20"/>
          </p:nvPr>
        </p:nvSpPr>
        <p:spPr/>
        <p:txBody>
          <a:bodyPr/>
          <a:lstStyle/>
          <a:p>
            <a:fld id="{00000000-1234-1234-1234-123412341234}" type="slidenum">
              <a:rPr lang="en" smtClean="0"/>
              <a:pPr/>
              <a:t>‹#›</a:t>
            </a:fld>
            <a:endParaRPr lang="en"/>
          </a:p>
        </p:txBody>
      </p:sp>
      <p:sp>
        <p:nvSpPr>
          <p:cNvPr id="14" name="Footer Placeholder 13">
            <a:extLst>
              <a:ext uri="{FF2B5EF4-FFF2-40B4-BE49-F238E27FC236}">
                <a16:creationId xmlns:a16="http://schemas.microsoft.com/office/drawing/2014/main" id="{E9EC84A8-B3E0-4575-8FDB-29FFA15010C8}"/>
              </a:ext>
            </a:extLst>
          </p:cNvPr>
          <p:cNvSpPr>
            <a:spLocks noGrp="1"/>
          </p:cNvSpPr>
          <p:nvPr>
            <p:ph type="ftr" sz="quarter" idx="21"/>
          </p:nvPr>
        </p:nvSpPr>
        <p:spPr/>
        <p:txBody>
          <a:bodyPr/>
          <a:lstStyle/>
          <a:p>
            <a:r>
              <a:rPr lang="en-US"/>
              <a:t>Deliverable title</a:t>
            </a:r>
          </a:p>
        </p:txBody>
      </p:sp>
      <p:sp>
        <p:nvSpPr>
          <p:cNvPr id="7" name="Text Placeholder 6">
            <a:extLst>
              <a:ext uri="{FF2B5EF4-FFF2-40B4-BE49-F238E27FC236}">
                <a16:creationId xmlns:a16="http://schemas.microsoft.com/office/drawing/2014/main" id="{B9145A77-D5D1-434A-99B0-81AEABA10534}"/>
              </a:ext>
            </a:extLst>
          </p:cNvPr>
          <p:cNvSpPr>
            <a:spLocks noGrp="1"/>
          </p:cNvSpPr>
          <p:nvPr>
            <p:ph type="body" sz="quarter" idx="22"/>
          </p:nvPr>
        </p:nvSpPr>
        <p:spPr>
          <a:xfrm>
            <a:off x="638355" y="1587267"/>
            <a:ext cx="10938292" cy="4343634"/>
          </a:xfrm>
        </p:spPr>
        <p:txBody>
          <a:bodyPr>
            <a:normAutofit/>
          </a:bodyPr>
          <a:lstStyle>
            <a:lvl1pPr marL="57150" marR="0" indent="-228600" algn="l" defTabSz="914400" rtl="0" eaLnBrk="1" fontAlgn="auto" latinLnBrk="0" hangingPunct="1">
              <a:lnSpc>
                <a:spcPct val="90000"/>
              </a:lnSpc>
              <a:spcAft>
                <a:spcPts val="600"/>
              </a:spcAft>
              <a:buClrTx/>
              <a:buSzTx/>
              <a:buFont typeface="Wingdings" panose="05000000000000000000" pitchFamily="2" charset="2"/>
              <a:buChar char="q"/>
              <a:tabLst/>
              <a:defRPr lang="en-US" sz="1400" b="0" i="0" u="none" strike="noStrike" cap="none" dirty="0" smtClean="0">
                <a:solidFill>
                  <a:schemeClr val="tx1"/>
                </a:solidFill>
                <a:latin typeface="Arial"/>
                <a:ea typeface="Arial"/>
                <a:cs typeface="Arial"/>
                <a:sym typeface="Arial"/>
              </a:defRPr>
            </a:lvl1pPr>
            <a:lvl2pPr marL="685800" marR="0" indent="-228600" algn="l" defTabSz="914400" rtl="0" eaLnBrk="1" fontAlgn="auto" latinLnBrk="0" hangingPunct="1">
              <a:lnSpc>
                <a:spcPct val="90000"/>
              </a:lnSpc>
              <a:spcAft>
                <a:spcPts val="600"/>
              </a:spcAft>
              <a:buClrTx/>
              <a:buSzTx/>
              <a:buFont typeface="Wingdings" panose="05000000000000000000" pitchFamily="2" charset="2"/>
              <a:buChar char="q"/>
              <a:tabLst/>
              <a:defRPr lang="en-US" sz="1200" b="0" i="0" u="none" strike="noStrike" cap="none" dirty="0" smtClean="0">
                <a:solidFill>
                  <a:schemeClr val="tx1"/>
                </a:solidFill>
                <a:latin typeface="Arial"/>
                <a:ea typeface="Arial"/>
                <a:cs typeface="Arial"/>
                <a:sym typeface="Arial"/>
              </a:defRPr>
            </a:lvl2pPr>
            <a:lvl3pPr marL="1143000" marR="0" indent="-228600" algn="l" defTabSz="914400" rtl="0" eaLnBrk="1" fontAlgn="auto" latinLnBrk="0" hangingPunct="1">
              <a:lnSpc>
                <a:spcPct val="90000"/>
              </a:lnSpc>
              <a:spcAft>
                <a:spcPts val="600"/>
              </a:spcAft>
              <a:buClrTx/>
              <a:buSzTx/>
              <a:buFont typeface="Wingdings" panose="05000000000000000000" pitchFamily="2" charset="2"/>
              <a:buChar char="q"/>
              <a:tabLst/>
              <a:defRPr lang="en-US" sz="1200" b="0" i="0" u="none" strike="noStrike" cap="none" dirty="0" smtClean="0">
                <a:solidFill>
                  <a:schemeClr val="tx1"/>
                </a:solidFill>
                <a:latin typeface="Arial"/>
                <a:ea typeface="Arial"/>
                <a:cs typeface="Arial"/>
                <a:sym typeface="Arial"/>
              </a:defRPr>
            </a:lvl3pPr>
            <a:lvl4pPr marL="1600200" marR="0" indent="-228600" algn="l" defTabSz="914400" rtl="0" eaLnBrk="1" fontAlgn="auto" latinLnBrk="0" hangingPunct="1">
              <a:lnSpc>
                <a:spcPct val="90000"/>
              </a:lnSpc>
              <a:spcAft>
                <a:spcPts val="600"/>
              </a:spcAft>
              <a:buClrTx/>
              <a:buSzTx/>
              <a:buFont typeface="Wingdings" panose="05000000000000000000" pitchFamily="2" charset="2"/>
              <a:buChar char="q"/>
              <a:tabLst/>
              <a:defRPr lang="en-US" sz="1200" b="0" i="0" u="none" strike="noStrike" cap="none" dirty="0" smtClean="0">
                <a:solidFill>
                  <a:schemeClr val="tx1"/>
                </a:solidFill>
                <a:latin typeface="Arial"/>
                <a:ea typeface="Arial"/>
                <a:cs typeface="Arial"/>
                <a:sym typeface="Arial"/>
              </a:defRPr>
            </a:lvl4pPr>
            <a:lvl5pPr marL="2057400" marR="0" indent="-228600" algn="l" defTabSz="914400" rtl="0" eaLnBrk="1" fontAlgn="auto" latinLnBrk="0" hangingPunct="1">
              <a:lnSpc>
                <a:spcPct val="90000"/>
              </a:lnSpc>
              <a:spcAft>
                <a:spcPts val="600"/>
              </a:spcAft>
              <a:buClrTx/>
              <a:buSzTx/>
              <a:buFont typeface="Wingdings" panose="05000000000000000000" pitchFamily="2" charset="2"/>
              <a:buChar char="q"/>
              <a:tabLst/>
              <a:defRPr lang="en-US" sz="1200" b="0" i="0" u="none" strike="noStrike" cap="none" dirty="0">
                <a:solidFill>
                  <a:schemeClr val="tx1"/>
                </a:solidFill>
                <a:latin typeface="Arial"/>
                <a:ea typeface="Arial"/>
                <a:cs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78480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 Slide">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FB460487-51BE-48ED-9EB4-A53A41C6B7EE}"/>
              </a:ext>
            </a:extLst>
          </p:cNvPr>
          <p:cNvSpPr>
            <a:spLocks noGrp="1"/>
          </p:cNvSpPr>
          <p:nvPr>
            <p:ph type="body" sz="quarter" idx="11" hasCustomPrompt="1"/>
          </p:nvPr>
        </p:nvSpPr>
        <p:spPr>
          <a:xfrm>
            <a:off x="638355" y="1406107"/>
            <a:ext cx="6514920" cy="1328466"/>
          </a:xfrm>
          <a:prstGeom prst="rect">
            <a:avLst/>
          </a:prstGeom>
        </p:spPr>
        <p:txBody>
          <a:bodyPr/>
          <a:lstStyle>
            <a:lvl1pPr marL="0" indent="0">
              <a:buNone/>
              <a:defRPr sz="1400">
                <a:solidFill>
                  <a:srgbClr val="005087"/>
                </a:solidFill>
              </a:defRPr>
            </a:lvl1pPr>
          </a:lstStyle>
          <a:p>
            <a:r>
              <a:rPr lang="en-US"/>
              <a:t>&lt;High Level Background / Introduction&gt;</a:t>
            </a:r>
          </a:p>
        </p:txBody>
      </p:sp>
      <p:sp>
        <p:nvSpPr>
          <p:cNvPr id="31" name="Text Placeholder 30">
            <a:extLst>
              <a:ext uri="{FF2B5EF4-FFF2-40B4-BE49-F238E27FC236}">
                <a16:creationId xmlns:a16="http://schemas.microsoft.com/office/drawing/2014/main" id="{122047F0-559F-48B5-9C5B-979883192DB3}"/>
              </a:ext>
            </a:extLst>
          </p:cNvPr>
          <p:cNvSpPr>
            <a:spLocks noGrp="1"/>
          </p:cNvSpPr>
          <p:nvPr>
            <p:ph type="body" sz="quarter" idx="14"/>
          </p:nvPr>
        </p:nvSpPr>
        <p:spPr>
          <a:xfrm>
            <a:off x="638354" y="2856779"/>
            <a:ext cx="10938293" cy="323850"/>
          </a:xfrm>
          <a:prstGeom prst="rect">
            <a:avLst/>
          </a:prstGeom>
          <a:solidFill>
            <a:srgbClr val="005087"/>
          </a:solidFill>
          <a:ln>
            <a:solidFill>
              <a:srgbClr val="005087"/>
            </a:solidFill>
          </a:ln>
        </p:spPr>
        <p:txBody>
          <a:bodyPr/>
          <a:lstStyle>
            <a:lvl1pPr marL="0" indent="0" algn="ctr">
              <a:buNone/>
              <a:defRPr sz="1400">
                <a:solidFill>
                  <a:schemeClr val="bg1"/>
                </a:solidFill>
              </a:defRPr>
            </a:lvl1pPr>
          </a:lstStyle>
          <a:p>
            <a:pPr lvl="0"/>
            <a:r>
              <a:rPr lang="en-US"/>
              <a:t>Click to edit Master text styles</a:t>
            </a:r>
          </a:p>
        </p:txBody>
      </p:sp>
      <p:sp>
        <p:nvSpPr>
          <p:cNvPr id="33" name="Text Placeholder 32">
            <a:extLst>
              <a:ext uri="{FF2B5EF4-FFF2-40B4-BE49-F238E27FC236}">
                <a16:creationId xmlns:a16="http://schemas.microsoft.com/office/drawing/2014/main" id="{D381731A-3D80-417D-8D2B-C6710B86E0B3}"/>
              </a:ext>
            </a:extLst>
          </p:cNvPr>
          <p:cNvSpPr>
            <a:spLocks noGrp="1"/>
          </p:cNvSpPr>
          <p:nvPr>
            <p:ph type="body" sz="quarter" idx="15" hasCustomPrompt="1"/>
          </p:nvPr>
        </p:nvSpPr>
        <p:spPr>
          <a:xfrm>
            <a:off x="7581901" y="1406107"/>
            <a:ext cx="3994747" cy="1328461"/>
          </a:xfrm>
          <a:prstGeom prst="rect">
            <a:avLst/>
          </a:prstGeom>
          <a:solidFill>
            <a:schemeClr val="bg1">
              <a:lumMod val="95000"/>
            </a:schemeClr>
          </a:solidFill>
          <a:ln>
            <a:solidFill>
              <a:schemeClr val="bg1">
                <a:lumMod val="95000"/>
              </a:schemeClr>
            </a:solidFill>
          </a:ln>
        </p:spPr>
        <p:txBody>
          <a:bodyPr/>
          <a:lstStyle>
            <a:lvl1pPr marL="0" indent="0" algn="ctr">
              <a:buNone/>
              <a:defRPr sz="1400" b="1">
                <a:solidFill>
                  <a:srgbClr val="005087"/>
                </a:solidFill>
              </a:defRPr>
            </a:lvl1pPr>
            <a:lvl2pPr marL="0" indent="0">
              <a:buNone/>
              <a:defRPr sz="1400">
                <a:solidFill>
                  <a:srgbClr val="005087"/>
                </a:solidFill>
              </a:defRPr>
            </a:lvl2pPr>
            <a:lvl3pPr marL="914400" indent="0">
              <a:buNone/>
              <a:defRPr sz="1400">
                <a:solidFill>
                  <a:srgbClr val="005087"/>
                </a:solidFill>
              </a:defRPr>
            </a:lvl3pPr>
          </a:lstStyle>
          <a:p>
            <a:pPr lvl="0"/>
            <a:r>
              <a:rPr lang="en-US"/>
              <a:t>Key Questions</a:t>
            </a:r>
          </a:p>
          <a:p>
            <a:pPr lvl="1"/>
            <a:r>
              <a:rPr lang="en-US"/>
              <a:t>Question 1</a:t>
            </a:r>
          </a:p>
          <a:p>
            <a:pPr lvl="1"/>
            <a:r>
              <a:rPr lang="en-US"/>
              <a:t>Question 2</a:t>
            </a:r>
          </a:p>
        </p:txBody>
      </p:sp>
      <p:cxnSp>
        <p:nvCxnSpPr>
          <p:cNvPr id="13" name="Straight Connector 12">
            <a:extLst>
              <a:ext uri="{FF2B5EF4-FFF2-40B4-BE49-F238E27FC236}">
                <a16:creationId xmlns:a16="http://schemas.microsoft.com/office/drawing/2014/main" id="{E0D2971D-322D-40FD-AE45-69BEE77A68D6}"/>
              </a:ext>
            </a:extLst>
          </p:cNvPr>
          <p:cNvCxnSpPr>
            <a:cxnSpLocks/>
          </p:cNvCxnSpPr>
          <p:nvPr userDrawn="1"/>
        </p:nvCxnSpPr>
        <p:spPr>
          <a:xfrm>
            <a:off x="638355" y="1302764"/>
            <a:ext cx="11553645" cy="0"/>
          </a:xfrm>
          <a:prstGeom prst="line">
            <a:avLst/>
          </a:prstGeom>
          <a:ln>
            <a:solidFill>
              <a:srgbClr val="92D050"/>
            </a:solidFill>
          </a:ln>
        </p:spPr>
        <p:style>
          <a:lnRef idx="1">
            <a:schemeClr val="accent3"/>
          </a:lnRef>
          <a:fillRef idx="0">
            <a:schemeClr val="accent3"/>
          </a:fillRef>
          <a:effectRef idx="0">
            <a:schemeClr val="accent3"/>
          </a:effectRef>
          <a:fontRef idx="minor">
            <a:schemeClr val="tx1"/>
          </a:fontRef>
        </p:style>
      </p:cxnSp>
      <p:sp>
        <p:nvSpPr>
          <p:cNvPr id="14" name="Title Placeholder 1">
            <a:extLst>
              <a:ext uri="{FF2B5EF4-FFF2-40B4-BE49-F238E27FC236}">
                <a16:creationId xmlns:a16="http://schemas.microsoft.com/office/drawing/2014/main" id="{42D4EBAA-B15A-4950-ADC3-1DD2BBD679B6}"/>
              </a:ext>
            </a:extLst>
          </p:cNvPr>
          <p:cNvSpPr>
            <a:spLocks noGrp="1"/>
          </p:cNvSpPr>
          <p:nvPr>
            <p:ph type="title"/>
          </p:nvPr>
        </p:nvSpPr>
        <p:spPr>
          <a:xfrm>
            <a:off x="638355" y="412392"/>
            <a:ext cx="10938293" cy="855691"/>
          </a:xfrm>
          <a:prstGeom prst="rect">
            <a:avLst/>
          </a:prstGeom>
        </p:spPr>
        <p:txBody>
          <a:bodyPr vert="horz" lIns="91440" tIns="45720" rIns="91440" bIns="45720" rtlCol="0" anchor="ctr">
            <a:normAutofit/>
          </a:bodyPr>
          <a:lstStyle/>
          <a:p>
            <a:endParaRPr lang="en-US"/>
          </a:p>
        </p:txBody>
      </p:sp>
      <p:cxnSp>
        <p:nvCxnSpPr>
          <p:cNvPr id="16" name="Straight Connector 15">
            <a:extLst>
              <a:ext uri="{FF2B5EF4-FFF2-40B4-BE49-F238E27FC236}">
                <a16:creationId xmlns:a16="http://schemas.microsoft.com/office/drawing/2014/main" id="{87815054-570B-4D6F-8BCC-1045FE175EAF}"/>
              </a:ext>
            </a:extLst>
          </p:cNvPr>
          <p:cNvCxnSpPr>
            <a:cxnSpLocks/>
          </p:cNvCxnSpPr>
          <p:nvPr userDrawn="1"/>
        </p:nvCxnSpPr>
        <p:spPr>
          <a:xfrm>
            <a:off x="0" y="373548"/>
            <a:ext cx="12181332" cy="0"/>
          </a:xfrm>
          <a:prstGeom prst="line">
            <a:avLst/>
          </a:prstGeom>
          <a:ln w="15875">
            <a:solidFill>
              <a:srgbClr val="92D050"/>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99426E76-AFD5-4D97-92AC-A881BB19D2FD}"/>
              </a:ext>
            </a:extLst>
          </p:cNvPr>
          <p:cNvSpPr/>
          <p:nvPr userDrawn="1"/>
        </p:nvSpPr>
        <p:spPr>
          <a:xfrm>
            <a:off x="2168" y="1501"/>
            <a:ext cx="991518" cy="372043"/>
          </a:xfrm>
          <a:prstGeom prst="rect">
            <a:avLst/>
          </a:prstGeom>
          <a:solidFill>
            <a:srgbClr val="0050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Step</a:t>
            </a:r>
            <a:endParaRPr lang="en-US"/>
          </a:p>
        </p:txBody>
      </p:sp>
      <p:sp>
        <p:nvSpPr>
          <p:cNvPr id="18" name="Parallelogram 17">
            <a:extLst>
              <a:ext uri="{FF2B5EF4-FFF2-40B4-BE49-F238E27FC236}">
                <a16:creationId xmlns:a16="http://schemas.microsoft.com/office/drawing/2014/main" id="{6021B17F-20CC-42FC-80EE-90823171B16B}"/>
              </a:ext>
            </a:extLst>
          </p:cNvPr>
          <p:cNvSpPr/>
          <p:nvPr userDrawn="1"/>
        </p:nvSpPr>
        <p:spPr>
          <a:xfrm flipH="1">
            <a:off x="888521" y="0"/>
            <a:ext cx="653864" cy="373545"/>
          </a:xfrm>
          <a:prstGeom prst="parallelogram">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a:t>
            </a:r>
          </a:p>
        </p:txBody>
      </p:sp>
      <p:sp>
        <p:nvSpPr>
          <p:cNvPr id="8" name="Slide Number Placeholder 7">
            <a:extLst>
              <a:ext uri="{FF2B5EF4-FFF2-40B4-BE49-F238E27FC236}">
                <a16:creationId xmlns:a16="http://schemas.microsoft.com/office/drawing/2014/main" id="{9D55C7FE-8CD7-49CC-9CF6-734DE51D0925}"/>
              </a:ext>
            </a:extLst>
          </p:cNvPr>
          <p:cNvSpPr>
            <a:spLocks noGrp="1"/>
          </p:cNvSpPr>
          <p:nvPr>
            <p:ph type="sldNum" idx="17"/>
          </p:nvPr>
        </p:nvSpPr>
        <p:spPr/>
        <p:txBody>
          <a:bodyPr/>
          <a:lstStyle/>
          <a:p>
            <a:fld id="{00000000-1234-1234-1234-123412341234}" type="slidenum">
              <a:rPr lang="en" smtClean="0"/>
              <a:pPr/>
              <a:t>‹#›</a:t>
            </a:fld>
            <a:endParaRPr lang="en"/>
          </a:p>
        </p:txBody>
      </p:sp>
      <p:sp>
        <p:nvSpPr>
          <p:cNvPr id="9" name="Footer Placeholder 8">
            <a:extLst>
              <a:ext uri="{FF2B5EF4-FFF2-40B4-BE49-F238E27FC236}">
                <a16:creationId xmlns:a16="http://schemas.microsoft.com/office/drawing/2014/main" id="{A46E4C7D-492F-40A3-9A96-B503A30D3D17}"/>
              </a:ext>
            </a:extLst>
          </p:cNvPr>
          <p:cNvSpPr>
            <a:spLocks noGrp="1"/>
          </p:cNvSpPr>
          <p:nvPr>
            <p:ph type="ftr" sz="quarter" idx="18"/>
          </p:nvPr>
        </p:nvSpPr>
        <p:spPr/>
        <p:txBody>
          <a:bodyPr/>
          <a:lstStyle/>
          <a:p>
            <a:r>
              <a:rPr lang="en-US"/>
              <a:t>Deliverable title</a:t>
            </a:r>
          </a:p>
        </p:txBody>
      </p:sp>
      <p:sp>
        <p:nvSpPr>
          <p:cNvPr id="5" name="Text Placeholder 4">
            <a:extLst>
              <a:ext uri="{FF2B5EF4-FFF2-40B4-BE49-F238E27FC236}">
                <a16:creationId xmlns:a16="http://schemas.microsoft.com/office/drawing/2014/main" id="{701C73BE-BA80-4F08-B989-B931197E5229}"/>
              </a:ext>
            </a:extLst>
          </p:cNvPr>
          <p:cNvSpPr>
            <a:spLocks noGrp="1"/>
          </p:cNvSpPr>
          <p:nvPr>
            <p:ph type="body" sz="quarter" idx="19"/>
          </p:nvPr>
        </p:nvSpPr>
        <p:spPr>
          <a:xfrm>
            <a:off x="638175" y="3302835"/>
            <a:ext cx="10938293" cy="2632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63730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_2 ">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AE319E5-D145-4DD7-81DA-4CDD2E8F6D36}"/>
              </a:ext>
            </a:extLst>
          </p:cNvPr>
          <p:cNvSpPr>
            <a:spLocks noGrp="1"/>
          </p:cNvSpPr>
          <p:nvPr>
            <p:ph type="sldNum" idx="10"/>
          </p:nvPr>
        </p:nvSpPr>
        <p:spPr/>
        <p:txBody>
          <a:bodyPr/>
          <a:lstStyle/>
          <a:p>
            <a:fld id="{00000000-1234-1234-1234-123412341234}" type="slidenum">
              <a:rPr lang="en" smtClean="0"/>
              <a:pPr/>
              <a:t>‹#›</a:t>
            </a:fld>
            <a:endParaRPr lang="en"/>
          </a:p>
        </p:txBody>
      </p:sp>
      <p:sp>
        <p:nvSpPr>
          <p:cNvPr id="8" name="Text Placeholder 7">
            <a:extLst>
              <a:ext uri="{FF2B5EF4-FFF2-40B4-BE49-F238E27FC236}">
                <a16:creationId xmlns:a16="http://schemas.microsoft.com/office/drawing/2014/main" id="{59C22E19-9DBE-487A-8F53-0FEB2BEE6226}"/>
              </a:ext>
            </a:extLst>
          </p:cNvPr>
          <p:cNvSpPr>
            <a:spLocks noGrp="1"/>
          </p:cNvSpPr>
          <p:nvPr>
            <p:ph type="body" sz="quarter" idx="12"/>
          </p:nvPr>
        </p:nvSpPr>
        <p:spPr>
          <a:xfrm>
            <a:off x="638355" y="1595886"/>
            <a:ext cx="5457645" cy="4339077"/>
          </a:xfrm>
          <a:prstGeom prst="rect">
            <a:avLst/>
          </a:prstGeom>
        </p:spPr>
        <p:txBody>
          <a:bodyPr/>
          <a:lstStyle>
            <a:lvl1pPr>
              <a:spcBef>
                <a:spcPts val="500"/>
              </a:spcBef>
              <a:defRPr sz="1400">
                <a:solidFill>
                  <a:srgbClr val="005087"/>
                </a:solidFill>
              </a:defRPr>
            </a:lvl1pPr>
            <a:lvl2pPr>
              <a:spcBef>
                <a:spcPts val="500"/>
              </a:spcBef>
              <a:defRPr sz="1200">
                <a:solidFill>
                  <a:srgbClr val="005087"/>
                </a:solidFill>
              </a:defRPr>
            </a:lvl2pPr>
            <a:lvl3pPr>
              <a:spcBef>
                <a:spcPts val="500"/>
              </a:spcBef>
              <a:defRPr sz="1200">
                <a:solidFill>
                  <a:srgbClr val="005087"/>
                </a:solidFill>
              </a:defRPr>
            </a:lvl3pPr>
            <a:lvl4pPr>
              <a:spcBef>
                <a:spcPts val="500"/>
              </a:spcBef>
              <a:defRPr sz="1200">
                <a:solidFill>
                  <a:srgbClr val="005087"/>
                </a:solidFill>
              </a:defRPr>
            </a:lvl4pPr>
            <a:lvl5pPr>
              <a:spcBef>
                <a:spcPts val="500"/>
              </a:spcBef>
              <a:defRPr sz="1200">
                <a:solidFill>
                  <a:srgbClr val="00508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F8636DC7-1D55-44B1-9916-D345BAD51111}"/>
              </a:ext>
            </a:extLst>
          </p:cNvPr>
          <p:cNvSpPr>
            <a:spLocks noGrp="1"/>
          </p:cNvSpPr>
          <p:nvPr>
            <p:ph type="body" sz="quarter" idx="13"/>
          </p:nvPr>
        </p:nvSpPr>
        <p:spPr>
          <a:xfrm>
            <a:off x="6305550" y="1578633"/>
            <a:ext cx="5271098" cy="4356329"/>
          </a:xfrm>
          <a:prstGeom prst="rect">
            <a:avLst/>
          </a:prstGeom>
        </p:spPr>
        <p:txBody>
          <a:bodyPr/>
          <a:lstStyle>
            <a:lvl1pPr>
              <a:spcBef>
                <a:spcPts val="500"/>
              </a:spcBef>
              <a:defRPr sz="1400">
                <a:solidFill>
                  <a:srgbClr val="005087"/>
                </a:solidFill>
              </a:defRPr>
            </a:lvl1pPr>
            <a:lvl2pPr>
              <a:spcBef>
                <a:spcPts val="500"/>
              </a:spcBef>
              <a:defRPr sz="1200">
                <a:solidFill>
                  <a:srgbClr val="005087"/>
                </a:solidFill>
              </a:defRPr>
            </a:lvl2pPr>
            <a:lvl3pPr>
              <a:spcBef>
                <a:spcPts val="500"/>
              </a:spcBef>
              <a:defRPr sz="1200">
                <a:solidFill>
                  <a:srgbClr val="005087"/>
                </a:solidFill>
              </a:defRPr>
            </a:lvl3pPr>
            <a:lvl4pPr>
              <a:spcBef>
                <a:spcPts val="500"/>
              </a:spcBef>
              <a:defRPr sz="1200">
                <a:solidFill>
                  <a:srgbClr val="005087"/>
                </a:solidFill>
              </a:defRPr>
            </a:lvl4pPr>
            <a:lvl5pPr>
              <a:spcBef>
                <a:spcPts val="500"/>
              </a:spcBef>
              <a:defRPr sz="1200">
                <a:solidFill>
                  <a:srgbClr val="00508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4CE7ED8D-9F3E-4B11-9F35-B03386134FC4}"/>
              </a:ext>
            </a:extLst>
          </p:cNvPr>
          <p:cNvSpPr>
            <a:spLocks noGrp="1"/>
          </p:cNvSpPr>
          <p:nvPr>
            <p:ph type="ftr" sz="quarter" idx="14"/>
          </p:nvPr>
        </p:nvSpPr>
        <p:spPr/>
        <p:txBody>
          <a:bodyPr/>
          <a:lstStyle/>
          <a:p>
            <a:r>
              <a:rPr lang="en-US"/>
              <a:t>Deliverable title</a:t>
            </a:r>
          </a:p>
        </p:txBody>
      </p:sp>
      <p:cxnSp>
        <p:nvCxnSpPr>
          <p:cNvPr id="9" name="Straight Connector 8">
            <a:extLst>
              <a:ext uri="{FF2B5EF4-FFF2-40B4-BE49-F238E27FC236}">
                <a16:creationId xmlns:a16="http://schemas.microsoft.com/office/drawing/2014/main" id="{E8417003-7192-473E-9AD4-95822F06142B}"/>
              </a:ext>
            </a:extLst>
          </p:cNvPr>
          <p:cNvCxnSpPr>
            <a:cxnSpLocks/>
          </p:cNvCxnSpPr>
          <p:nvPr userDrawn="1"/>
        </p:nvCxnSpPr>
        <p:spPr>
          <a:xfrm>
            <a:off x="638355" y="918381"/>
            <a:ext cx="11553645"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sp>
        <p:nvSpPr>
          <p:cNvPr id="11" name="Title Placeholder 1">
            <a:extLst>
              <a:ext uri="{FF2B5EF4-FFF2-40B4-BE49-F238E27FC236}">
                <a16:creationId xmlns:a16="http://schemas.microsoft.com/office/drawing/2014/main" id="{AF7D7352-E406-4FE1-BC0C-4C8BA7E21EF9}"/>
              </a:ext>
            </a:extLst>
          </p:cNvPr>
          <p:cNvSpPr>
            <a:spLocks noGrp="1"/>
          </p:cNvSpPr>
          <p:nvPr>
            <p:ph type="title"/>
          </p:nvPr>
        </p:nvSpPr>
        <p:spPr>
          <a:xfrm>
            <a:off x="638355" y="330621"/>
            <a:ext cx="10938293" cy="855691"/>
          </a:xfrm>
          <a:prstGeom prst="rect">
            <a:avLst/>
          </a:prstGeom>
        </p:spPr>
        <p:txBody>
          <a:bodyPr vert="horz" lIns="91440" tIns="45720" rIns="91440" bIns="45720" rtlCol="0" anchor="ctr">
            <a:normAutofit/>
          </a:bodyPr>
          <a:lstStyle>
            <a:lvl1pPr>
              <a:defRPr sz="3200" b="1"/>
            </a:lvl1pPr>
          </a:lstStyle>
          <a:p>
            <a:endParaRPr lang="en-US"/>
          </a:p>
        </p:txBody>
      </p:sp>
    </p:spTree>
    <p:extLst>
      <p:ext uri="{BB962C8B-B14F-4D97-AF65-F5344CB8AC3E}">
        <p14:creationId xmlns:p14="http://schemas.microsoft.com/office/powerpoint/2010/main" val="33820479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Slide_ No bullet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9386272-9A23-4F99-A6DF-816733915583}"/>
              </a:ext>
            </a:extLst>
          </p:cNvPr>
          <p:cNvSpPr>
            <a:spLocks noGrp="1"/>
          </p:cNvSpPr>
          <p:nvPr>
            <p:ph type="sldNum" idx="10"/>
          </p:nvPr>
        </p:nvSpPr>
        <p:spPr/>
        <p:txBody>
          <a:bodyPr/>
          <a:lstStyle/>
          <a:p>
            <a:fld id="{00000000-1234-1234-1234-123412341234}" type="slidenum">
              <a:rPr lang="en" smtClean="0"/>
              <a:pPr/>
              <a:t>‹#›</a:t>
            </a:fld>
            <a:endParaRPr lang="en"/>
          </a:p>
        </p:txBody>
      </p:sp>
      <p:sp>
        <p:nvSpPr>
          <p:cNvPr id="4" name="Footer Placeholder 3">
            <a:extLst>
              <a:ext uri="{FF2B5EF4-FFF2-40B4-BE49-F238E27FC236}">
                <a16:creationId xmlns:a16="http://schemas.microsoft.com/office/drawing/2014/main" id="{49A75293-3ECD-4786-B9AF-93FDE46B9ACB}"/>
              </a:ext>
            </a:extLst>
          </p:cNvPr>
          <p:cNvSpPr>
            <a:spLocks noGrp="1"/>
          </p:cNvSpPr>
          <p:nvPr>
            <p:ph type="ftr" sz="quarter" idx="11"/>
          </p:nvPr>
        </p:nvSpPr>
        <p:spPr/>
        <p:txBody>
          <a:bodyPr/>
          <a:lstStyle/>
          <a:p>
            <a:r>
              <a:rPr lang="en-US"/>
              <a:t>Deliverable title</a:t>
            </a:r>
          </a:p>
        </p:txBody>
      </p:sp>
      <p:sp>
        <p:nvSpPr>
          <p:cNvPr id="6" name="Text Placeholder 5">
            <a:extLst>
              <a:ext uri="{FF2B5EF4-FFF2-40B4-BE49-F238E27FC236}">
                <a16:creationId xmlns:a16="http://schemas.microsoft.com/office/drawing/2014/main" id="{B8AD2D2C-78CF-433D-AAC8-10B32B0DD3C8}"/>
              </a:ext>
            </a:extLst>
          </p:cNvPr>
          <p:cNvSpPr>
            <a:spLocks noGrp="1"/>
          </p:cNvSpPr>
          <p:nvPr>
            <p:ph type="body" sz="quarter" idx="12"/>
          </p:nvPr>
        </p:nvSpPr>
        <p:spPr>
          <a:xfrm>
            <a:off x="639764" y="1587264"/>
            <a:ext cx="10936884" cy="4356336"/>
          </a:xfrm>
        </p:spPr>
        <p:txBody>
          <a:bodyPr>
            <a:normAutofit/>
          </a:bodyPr>
          <a:lstStyle>
            <a:lvl1pPr marL="0" indent="0">
              <a:buNone/>
              <a:defRPr sz="1400"/>
            </a:lvl1pPr>
            <a:lvl2pPr marL="0" indent="0">
              <a:buNone/>
              <a:defRPr sz="1400"/>
            </a:lvl2pPr>
            <a:lvl3pPr marL="0" indent="0">
              <a:buNone/>
              <a:defRPr sz="1400"/>
            </a:lvl3pPr>
            <a:lvl4pPr marL="0" indent="0">
              <a:buNone/>
              <a:defRPr sz="1400"/>
            </a:lvl4pPr>
            <a:lvl5pPr marL="0"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92EAB44C-2DFD-4FDD-8E3F-C44B6695C9A5}"/>
              </a:ext>
            </a:extLst>
          </p:cNvPr>
          <p:cNvCxnSpPr>
            <a:cxnSpLocks/>
          </p:cNvCxnSpPr>
          <p:nvPr userDrawn="1"/>
        </p:nvCxnSpPr>
        <p:spPr>
          <a:xfrm>
            <a:off x="638355" y="918381"/>
            <a:ext cx="11553645"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sp>
        <p:nvSpPr>
          <p:cNvPr id="9" name="Title Placeholder 1">
            <a:extLst>
              <a:ext uri="{FF2B5EF4-FFF2-40B4-BE49-F238E27FC236}">
                <a16:creationId xmlns:a16="http://schemas.microsoft.com/office/drawing/2014/main" id="{88B77FB9-504B-45E9-9D44-3C0FFC75FB24}"/>
              </a:ext>
            </a:extLst>
          </p:cNvPr>
          <p:cNvSpPr>
            <a:spLocks noGrp="1"/>
          </p:cNvSpPr>
          <p:nvPr>
            <p:ph type="title"/>
          </p:nvPr>
        </p:nvSpPr>
        <p:spPr>
          <a:xfrm>
            <a:off x="638355" y="330621"/>
            <a:ext cx="10938293" cy="855691"/>
          </a:xfrm>
          <a:prstGeom prst="rect">
            <a:avLst/>
          </a:prstGeom>
        </p:spPr>
        <p:txBody>
          <a:bodyPr vert="horz" lIns="91440" tIns="45720" rIns="91440" bIns="45720" rtlCol="0" anchor="ctr">
            <a:normAutofit/>
          </a:bodyPr>
          <a:lstStyle>
            <a:lvl1pPr>
              <a:defRPr sz="3200" b="1"/>
            </a:lvl1pPr>
          </a:lstStyle>
          <a:p>
            <a:endParaRPr lang="en-US"/>
          </a:p>
        </p:txBody>
      </p:sp>
    </p:spTree>
    <p:extLst>
      <p:ext uri="{BB962C8B-B14F-4D97-AF65-F5344CB8AC3E}">
        <p14:creationId xmlns:p14="http://schemas.microsoft.com/office/powerpoint/2010/main" val="5745224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428053" y="1052215"/>
            <a:ext cx="8568316" cy="2238375"/>
          </a:xfrm>
        </p:spPr>
        <p:txBody>
          <a:bodyPr anchor="b"/>
          <a:lstStyle>
            <a:lvl1pPr algn="ctr">
              <a:defRPr sz="5622"/>
            </a:lvl1pPr>
          </a:lstStyle>
          <a:p>
            <a:r>
              <a:t>Title</a:t>
            </a:r>
          </a:p>
        </p:txBody>
      </p:sp>
      <p:sp>
        <p:nvSpPr>
          <p:cNvPr id="3" name="Subtitle 2"/>
          <p:cNvSpPr>
            <a:spLocks noGrp="1"/>
          </p:cNvSpPr>
          <p:nvPr>
            <p:ph type="subTitle" idx="1"/>
          </p:nvPr>
        </p:nvSpPr>
        <p:spPr>
          <a:xfrm>
            <a:off x="1428053" y="3376911"/>
            <a:ext cx="8568316" cy="1552277"/>
          </a:xfrm>
        </p:spPr>
        <p:txBody>
          <a:bodyPr/>
          <a:lstStyle>
            <a:lvl1pPr marL="0" indent="0" algn="ctr">
              <a:buNone/>
              <a:defRPr sz="2249"/>
            </a:lvl1pPr>
            <a:lvl2pPr marL="428396" indent="0" algn="ctr">
              <a:buNone/>
              <a:defRPr sz="1874"/>
            </a:lvl2pPr>
            <a:lvl3pPr marL="856793" indent="0" algn="ctr">
              <a:buNone/>
              <a:defRPr sz="1687"/>
            </a:lvl3pPr>
            <a:lvl4pPr marL="1285189" indent="0" algn="ctr">
              <a:buNone/>
              <a:defRPr sz="1499"/>
            </a:lvl4pPr>
            <a:lvl5pPr marL="1713586" indent="0" algn="ctr">
              <a:buNone/>
              <a:defRPr sz="1499"/>
            </a:lvl5pPr>
            <a:lvl6pPr marL="2141982" indent="0" algn="ctr">
              <a:buNone/>
              <a:defRPr sz="1499"/>
            </a:lvl6pPr>
            <a:lvl7pPr marL="2570378" indent="0" algn="ctr">
              <a:buNone/>
              <a:defRPr sz="1499"/>
            </a:lvl7pPr>
            <a:lvl8pPr marL="2998775" indent="0" algn="ctr">
              <a:buNone/>
              <a:defRPr sz="1499"/>
            </a:lvl8pPr>
            <a:lvl9pPr marL="3427171" indent="0" algn="ctr">
              <a:buNone/>
              <a:defRPr sz="1499"/>
            </a:lvl9pPr>
          </a:lstStyle>
          <a:p>
            <a:r>
              <a:t>Subtitle</a:t>
            </a:r>
          </a:p>
        </p:txBody>
      </p:sp>
      <p:sp>
        <p:nvSpPr>
          <p:cNvPr id="4" name="Date placeholder 3"/>
          <p:cNvSpPr>
            <a:spLocks noGrp="1"/>
          </p:cNvSpPr>
          <p:nvPr>
            <p:ph type="dt" sz="half" idx="10"/>
          </p:nvPr>
        </p:nvSpPr>
        <p:spPr/>
        <p:txBody>
          <a:bodyPr/>
          <a:lstStyle/>
          <a:p>
            <a:fld id="{1A2F0B57-8E6A-4005-9EDD-D258F6CC94AB}" type="datetimeFigureOut">
              <a:rPr lang="en-US" smtClean="0"/>
              <a:t>6/27/2022</a:t>
            </a:fld>
            <a:endParaRPr/>
          </a:p>
        </p:txBody>
      </p:sp>
      <p:sp>
        <p:nvSpPr>
          <p:cNvPr id="5" name="Bottom colontitle 4"/>
          <p:cNvSpPr>
            <a:spLocks noGrp="1"/>
          </p:cNvSpPr>
          <p:nvPr>
            <p:ph type="ftr" sz="quarter" idx="11"/>
          </p:nvPr>
        </p:nvSpPr>
        <p:spPr/>
        <p:txBody>
          <a:bodyPr/>
          <a:lstStyle/>
          <a:p>
            <a:endParaRPr/>
          </a:p>
        </p:txBody>
      </p:sp>
      <p:sp>
        <p:nvSpPr>
          <p:cNvPr id="6" name="Slide number 5"/>
          <p:cNvSpPr>
            <a:spLocks noGrp="1"/>
          </p:cNvSpPr>
          <p:nvPr>
            <p:ph type="sldNum" sz="quarter" idx="12"/>
          </p:nvPr>
        </p:nvSpPr>
        <p:spPr/>
        <p:txBody>
          <a:bodyPr/>
          <a:lstStyle/>
          <a:p>
            <a:fld id="{6CB18C70-803E-428A-BAB3-289BE172EF8D}" type="slidenum">
              <a:rPr smtClean="0"/>
              <a:t>‹#›</a:t>
            </a:fld>
            <a:endParaRPr/>
          </a:p>
        </p:txBody>
      </p:sp>
    </p:spTree>
    <p:extLst>
      <p:ext uri="{BB962C8B-B14F-4D97-AF65-F5344CB8AC3E}">
        <p14:creationId xmlns:p14="http://schemas.microsoft.com/office/powerpoint/2010/main" val="26169175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532436-246E-C341-8F9A-0B4F34C07184}" type="datetimeFigureOut">
              <a:rPr lang="en-US" smtClean="0"/>
              <a:pPr/>
              <a:t>6/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3207615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3074"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Text Placeholder 6"/>
          <p:cNvSpPr>
            <a:spLocks noGrp="1"/>
          </p:cNvSpPr>
          <p:nvPr>
            <p:ph type="body" sz="quarter" idx="13"/>
          </p:nvPr>
        </p:nvSpPr>
        <p:spPr>
          <a:xfrm>
            <a:off x="508000" y="1634855"/>
            <a:ext cx="11176000" cy="4267200"/>
          </a:xfrm>
        </p:spPr>
        <p:txBody>
          <a:bodyPr>
            <a:normAutofit/>
          </a:bodyPr>
          <a:lstStyle>
            <a:lvl1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1pPr>
            <a:lvl2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2pPr>
            <a:lvl3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3pPr>
            <a:lvl4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4pPr>
            <a:lvl5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a:solidFill>
                  <a:schemeClr val="tx1"/>
                </a:solidFill>
                <a:latin typeface="+mn-lt"/>
                <a:ea typeface="+mn-ea"/>
                <a:cs typeface="+mn-cs"/>
                <a:sym typeface="+mn-lt"/>
              </a:defRPr>
            </a:lvl5pPr>
          </a:lstStyle>
          <a:p>
            <a:pPr lvl="0"/>
            <a:r>
              <a:rPr lang="en-US"/>
              <a:t>Click to edit Master text styles</a:t>
            </a:r>
          </a:p>
        </p:txBody>
      </p:sp>
      <p:sp>
        <p:nvSpPr>
          <p:cNvPr id="11" name="Title Placeholder 6"/>
          <p:cNvSpPr>
            <a:spLocks noGrp="1"/>
          </p:cNvSpPr>
          <p:nvPr>
            <p:ph type="title"/>
          </p:nvPr>
        </p:nvSpPr>
        <p:spPr>
          <a:xfrm>
            <a:off x="3" y="-4469"/>
            <a:ext cx="10888133" cy="640080"/>
          </a:xfrm>
          <a:prstGeom prst="rect">
            <a:avLst/>
          </a:prstGeom>
        </p:spPr>
        <p:txBody>
          <a:bodyPr vert="horz" lIns="91440" tIns="45720" rIns="91440" bIns="45720" rtlCol="0" anchor="ctr">
            <a:normAutofit/>
          </a:bodyPr>
          <a:lstStyle>
            <a:lvl1pPr>
              <a:defRPr>
                <a:latin typeface="+mj-lt"/>
                <a:ea typeface="+mj-ea"/>
                <a:cs typeface="+mj-cs"/>
                <a:sym typeface="+mj-lt"/>
              </a:defRPr>
            </a:lvl1pPr>
          </a:lstStyle>
          <a:p>
            <a:r>
              <a:rPr lang="en-US"/>
              <a:t>Click to edit Master title style</a:t>
            </a:r>
          </a:p>
        </p:txBody>
      </p:sp>
      <p:sp>
        <p:nvSpPr>
          <p:cNvPr id="9" name="TextBox 8"/>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0"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4859858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6838" y="4131469"/>
            <a:ext cx="7283069" cy="1276945"/>
          </a:xfrm>
        </p:spPr>
        <p:txBody>
          <a:bodyPr anchor="t"/>
          <a:lstStyle>
            <a:lvl1pPr algn="l">
              <a:defRPr sz="3748" b="1" cap="all"/>
            </a:lvl1pPr>
          </a:lstStyle>
          <a:p>
            <a:r>
              <a:rPr lang="en-US"/>
              <a:t>Click to edit Master title style</a:t>
            </a:r>
          </a:p>
        </p:txBody>
      </p:sp>
      <p:sp>
        <p:nvSpPr>
          <p:cNvPr id="3" name="Text Placeholder 2"/>
          <p:cNvSpPr>
            <a:spLocks noGrp="1"/>
          </p:cNvSpPr>
          <p:nvPr>
            <p:ph type="body" idx="1"/>
          </p:nvPr>
        </p:nvSpPr>
        <p:spPr>
          <a:xfrm>
            <a:off x="676838" y="2725044"/>
            <a:ext cx="7283069" cy="1406425"/>
          </a:xfrm>
        </p:spPr>
        <p:txBody>
          <a:bodyPr anchor="b"/>
          <a:lstStyle>
            <a:lvl1pPr marL="0" indent="0">
              <a:buNone/>
              <a:defRPr sz="1874">
                <a:solidFill>
                  <a:schemeClr val="tx1">
                    <a:tint val="75000"/>
                  </a:schemeClr>
                </a:solidFill>
              </a:defRPr>
            </a:lvl1pPr>
            <a:lvl2pPr marL="428396" indent="0">
              <a:buNone/>
              <a:defRPr sz="1687">
                <a:solidFill>
                  <a:schemeClr val="tx1">
                    <a:tint val="75000"/>
                  </a:schemeClr>
                </a:solidFill>
              </a:defRPr>
            </a:lvl2pPr>
            <a:lvl3pPr marL="856793" indent="0">
              <a:buNone/>
              <a:defRPr sz="1499">
                <a:solidFill>
                  <a:schemeClr val="tx1">
                    <a:tint val="75000"/>
                  </a:schemeClr>
                </a:solidFill>
              </a:defRPr>
            </a:lvl3pPr>
            <a:lvl4pPr marL="1285189" indent="0">
              <a:buNone/>
              <a:defRPr sz="1312">
                <a:solidFill>
                  <a:schemeClr val="tx1">
                    <a:tint val="75000"/>
                  </a:schemeClr>
                </a:solidFill>
              </a:defRPr>
            </a:lvl4pPr>
            <a:lvl5pPr marL="1713586" indent="0">
              <a:buNone/>
              <a:defRPr sz="1312">
                <a:solidFill>
                  <a:schemeClr val="tx1">
                    <a:tint val="75000"/>
                  </a:schemeClr>
                </a:solidFill>
              </a:defRPr>
            </a:lvl5pPr>
            <a:lvl6pPr marL="2141982" indent="0">
              <a:buNone/>
              <a:defRPr sz="1312">
                <a:solidFill>
                  <a:schemeClr val="tx1">
                    <a:tint val="75000"/>
                  </a:schemeClr>
                </a:solidFill>
              </a:defRPr>
            </a:lvl6pPr>
            <a:lvl7pPr marL="2570378" indent="0">
              <a:buNone/>
              <a:defRPr sz="1312">
                <a:solidFill>
                  <a:schemeClr val="tx1">
                    <a:tint val="75000"/>
                  </a:schemeClr>
                </a:solidFill>
              </a:defRPr>
            </a:lvl7pPr>
            <a:lvl8pPr marL="2998775" indent="0">
              <a:buNone/>
              <a:defRPr sz="1312">
                <a:solidFill>
                  <a:schemeClr val="tx1">
                    <a:tint val="75000"/>
                  </a:schemeClr>
                </a:solidFill>
              </a:defRPr>
            </a:lvl8pPr>
            <a:lvl9pPr marL="3427171" indent="0">
              <a:buNone/>
              <a:defRPr sz="131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532436-246E-C341-8F9A-0B4F34C07184}" type="datetimeFigureOut">
              <a:rPr lang="en-US" smtClean="0"/>
              <a:pPr/>
              <a:t>6/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4369133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28416" y="1500188"/>
            <a:ext cx="3784340" cy="4243090"/>
          </a:xfrm>
        </p:spPr>
        <p:txBody>
          <a:bodyPr/>
          <a:lstStyle>
            <a:lvl1pPr>
              <a:defRPr sz="2624"/>
            </a:lvl1pPr>
            <a:lvl2pPr>
              <a:defRPr sz="2249"/>
            </a:lvl2pPr>
            <a:lvl3pPr>
              <a:defRPr sz="1874"/>
            </a:lvl3pPr>
            <a:lvl4pPr>
              <a:defRPr sz="1687"/>
            </a:lvl4pPr>
            <a:lvl5pPr>
              <a:defRPr sz="1687"/>
            </a:lvl5pPr>
            <a:lvl6pPr>
              <a:defRPr sz="1687"/>
            </a:lvl6pPr>
            <a:lvl7pPr>
              <a:defRPr sz="1687"/>
            </a:lvl7pPr>
            <a:lvl8pPr>
              <a:defRPr sz="1687"/>
            </a:lvl8pPr>
            <a:lvl9pPr>
              <a:defRPr sz="168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55561" y="1500188"/>
            <a:ext cx="3784340" cy="4243090"/>
          </a:xfrm>
        </p:spPr>
        <p:txBody>
          <a:bodyPr/>
          <a:lstStyle>
            <a:lvl1pPr>
              <a:defRPr sz="2624"/>
            </a:lvl1pPr>
            <a:lvl2pPr>
              <a:defRPr sz="2249"/>
            </a:lvl2pPr>
            <a:lvl3pPr>
              <a:defRPr sz="1874"/>
            </a:lvl3pPr>
            <a:lvl4pPr>
              <a:defRPr sz="1687"/>
            </a:lvl4pPr>
            <a:lvl5pPr>
              <a:defRPr sz="1687"/>
            </a:lvl5pPr>
            <a:lvl6pPr>
              <a:defRPr sz="1687"/>
            </a:lvl6pPr>
            <a:lvl7pPr>
              <a:defRPr sz="1687"/>
            </a:lvl7pPr>
            <a:lvl8pPr>
              <a:defRPr sz="1687"/>
            </a:lvl8pPr>
            <a:lvl9pPr>
              <a:defRPr sz="168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0532436-246E-C341-8F9A-0B4F34C07184}" type="datetimeFigureOut">
              <a:rPr lang="en-US" smtClean="0"/>
              <a:pPr/>
              <a:t>6/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27640546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28416" y="1439168"/>
            <a:ext cx="3785828" cy="599777"/>
          </a:xfrm>
        </p:spPr>
        <p:txBody>
          <a:bodyPr anchor="b"/>
          <a:lstStyle>
            <a:lvl1pPr marL="0" indent="0">
              <a:buNone/>
              <a:defRPr sz="2249" b="1"/>
            </a:lvl1pPr>
            <a:lvl2pPr marL="428396" indent="0">
              <a:buNone/>
              <a:defRPr sz="1874" b="1"/>
            </a:lvl2pPr>
            <a:lvl3pPr marL="856793" indent="0">
              <a:buNone/>
              <a:defRPr sz="1687" b="1"/>
            </a:lvl3pPr>
            <a:lvl4pPr marL="1285189" indent="0">
              <a:buNone/>
              <a:defRPr sz="1499" b="1"/>
            </a:lvl4pPr>
            <a:lvl5pPr marL="1713586" indent="0">
              <a:buNone/>
              <a:defRPr sz="1499" b="1"/>
            </a:lvl5pPr>
            <a:lvl6pPr marL="2141982" indent="0">
              <a:buNone/>
              <a:defRPr sz="1499" b="1"/>
            </a:lvl6pPr>
            <a:lvl7pPr marL="2570378" indent="0">
              <a:buNone/>
              <a:defRPr sz="1499" b="1"/>
            </a:lvl7pPr>
            <a:lvl8pPr marL="2998775" indent="0">
              <a:buNone/>
              <a:defRPr sz="1499" b="1"/>
            </a:lvl8pPr>
            <a:lvl9pPr marL="3427171" indent="0">
              <a:buNone/>
              <a:defRPr sz="1499" b="1"/>
            </a:lvl9pPr>
          </a:lstStyle>
          <a:p>
            <a:pPr lvl="0"/>
            <a:r>
              <a:rPr lang="en-US"/>
              <a:t>Click to edit Master text styles</a:t>
            </a:r>
          </a:p>
        </p:txBody>
      </p:sp>
      <p:sp>
        <p:nvSpPr>
          <p:cNvPr id="4" name="Content Placeholder 3"/>
          <p:cNvSpPr>
            <a:spLocks noGrp="1"/>
          </p:cNvSpPr>
          <p:nvPr>
            <p:ph sz="half" idx="2"/>
          </p:nvPr>
        </p:nvSpPr>
        <p:spPr>
          <a:xfrm>
            <a:off x="428416" y="2038945"/>
            <a:ext cx="3785828" cy="3704333"/>
          </a:xfrm>
        </p:spPr>
        <p:txBody>
          <a:bodyPr/>
          <a:lstStyle>
            <a:lvl1pPr>
              <a:defRPr sz="2249"/>
            </a:lvl1pPr>
            <a:lvl2pPr>
              <a:defRPr sz="1874"/>
            </a:lvl2pPr>
            <a:lvl3pPr>
              <a:defRPr sz="1687"/>
            </a:lvl3pPr>
            <a:lvl4pPr>
              <a:defRPr sz="1499"/>
            </a:lvl4pPr>
            <a:lvl5pPr>
              <a:defRPr sz="1499"/>
            </a:lvl5pPr>
            <a:lvl6pPr>
              <a:defRPr sz="1499"/>
            </a:lvl6pPr>
            <a:lvl7pPr>
              <a:defRPr sz="1499"/>
            </a:lvl7pPr>
            <a:lvl8pPr>
              <a:defRPr sz="1499"/>
            </a:lvl8pPr>
            <a:lvl9pPr>
              <a:defRPr sz="14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352586" y="1439168"/>
            <a:ext cx="3787315" cy="599777"/>
          </a:xfrm>
        </p:spPr>
        <p:txBody>
          <a:bodyPr anchor="b"/>
          <a:lstStyle>
            <a:lvl1pPr marL="0" indent="0">
              <a:buNone/>
              <a:defRPr sz="2249" b="1"/>
            </a:lvl1pPr>
            <a:lvl2pPr marL="428396" indent="0">
              <a:buNone/>
              <a:defRPr sz="1874" b="1"/>
            </a:lvl2pPr>
            <a:lvl3pPr marL="856793" indent="0">
              <a:buNone/>
              <a:defRPr sz="1687" b="1"/>
            </a:lvl3pPr>
            <a:lvl4pPr marL="1285189" indent="0">
              <a:buNone/>
              <a:defRPr sz="1499" b="1"/>
            </a:lvl4pPr>
            <a:lvl5pPr marL="1713586" indent="0">
              <a:buNone/>
              <a:defRPr sz="1499" b="1"/>
            </a:lvl5pPr>
            <a:lvl6pPr marL="2141982" indent="0">
              <a:buNone/>
              <a:defRPr sz="1499" b="1"/>
            </a:lvl6pPr>
            <a:lvl7pPr marL="2570378" indent="0">
              <a:buNone/>
              <a:defRPr sz="1499" b="1"/>
            </a:lvl7pPr>
            <a:lvl8pPr marL="2998775" indent="0">
              <a:buNone/>
              <a:defRPr sz="1499" b="1"/>
            </a:lvl8pPr>
            <a:lvl9pPr marL="3427171" indent="0">
              <a:buNone/>
              <a:defRPr sz="1499" b="1"/>
            </a:lvl9pPr>
          </a:lstStyle>
          <a:p>
            <a:pPr lvl="0"/>
            <a:r>
              <a:rPr lang="en-US"/>
              <a:t>Click to edit Master text styles</a:t>
            </a:r>
          </a:p>
        </p:txBody>
      </p:sp>
      <p:sp>
        <p:nvSpPr>
          <p:cNvPr id="6" name="Content Placeholder 5"/>
          <p:cNvSpPr>
            <a:spLocks noGrp="1"/>
          </p:cNvSpPr>
          <p:nvPr>
            <p:ph sz="quarter" idx="4"/>
          </p:nvPr>
        </p:nvSpPr>
        <p:spPr>
          <a:xfrm>
            <a:off x="4352586" y="2038945"/>
            <a:ext cx="3787315" cy="3704333"/>
          </a:xfrm>
        </p:spPr>
        <p:txBody>
          <a:bodyPr/>
          <a:lstStyle>
            <a:lvl1pPr>
              <a:defRPr sz="2249"/>
            </a:lvl1pPr>
            <a:lvl2pPr>
              <a:defRPr sz="1874"/>
            </a:lvl2pPr>
            <a:lvl3pPr>
              <a:defRPr sz="1687"/>
            </a:lvl3pPr>
            <a:lvl4pPr>
              <a:defRPr sz="1499"/>
            </a:lvl4pPr>
            <a:lvl5pPr>
              <a:defRPr sz="1499"/>
            </a:lvl5pPr>
            <a:lvl6pPr>
              <a:defRPr sz="1499"/>
            </a:lvl6pPr>
            <a:lvl7pPr>
              <a:defRPr sz="1499"/>
            </a:lvl7pPr>
            <a:lvl8pPr>
              <a:defRPr sz="1499"/>
            </a:lvl8pPr>
            <a:lvl9pPr>
              <a:defRPr sz="14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0532436-246E-C341-8F9A-0B4F34C07184}" type="datetimeFigureOut">
              <a:rPr lang="en-US" smtClean="0"/>
              <a:pPr/>
              <a:t>6/2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22771511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0532436-246E-C341-8F9A-0B4F34C07184}" type="datetimeFigureOut">
              <a:rPr lang="en-US" smtClean="0"/>
              <a:pPr/>
              <a:t>6/2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19180741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532436-246E-C341-8F9A-0B4F34C07184}" type="datetimeFigureOut">
              <a:rPr lang="en-US" smtClean="0"/>
              <a:pPr/>
              <a:t>6/2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40445891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28416" y="255984"/>
            <a:ext cx="2818917" cy="1089422"/>
          </a:xfrm>
        </p:spPr>
        <p:txBody>
          <a:bodyPr anchor="b"/>
          <a:lstStyle>
            <a:lvl1pPr algn="l">
              <a:defRPr sz="1874" b="1"/>
            </a:lvl1pPr>
          </a:lstStyle>
          <a:p>
            <a:r>
              <a:rPr lang="en-US"/>
              <a:t>Click to edit Master title style</a:t>
            </a:r>
          </a:p>
        </p:txBody>
      </p:sp>
      <p:sp>
        <p:nvSpPr>
          <p:cNvPr id="3" name="Content Placeholder 2"/>
          <p:cNvSpPr>
            <a:spLocks noGrp="1"/>
          </p:cNvSpPr>
          <p:nvPr>
            <p:ph idx="1"/>
          </p:nvPr>
        </p:nvSpPr>
        <p:spPr>
          <a:xfrm>
            <a:off x="3349974" y="255985"/>
            <a:ext cx="4789927" cy="5487293"/>
          </a:xfrm>
        </p:spPr>
        <p:txBody>
          <a:bodyPr/>
          <a:lstStyle>
            <a:lvl1pPr>
              <a:defRPr sz="2998"/>
            </a:lvl1pPr>
            <a:lvl2pPr>
              <a:defRPr sz="2624"/>
            </a:lvl2pPr>
            <a:lvl3pPr>
              <a:defRPr sz="2249"/>
            </a:lvl3pPr>
            <a:lvl4pPr>
              <a:defRPr sz="1874"/>
            </a:lvl4pPr>
            <a:lvl5pPr>
              <a:defRPr sz="1874"/>
            </a:lvl5pPr>
            <a:lvl6pPr>
              <a:defRPr sz="1874"/>
            </a:lvl6pPr>
            <a:lvl7pPr>
              <a:defRPr sz="1874"/>
            </a:lvl7pPr>
            <a:lvl8pPr>
              <a:defRPr sz="1874"/>
            </a:lvl8pPr>
            <a:lvl9pPr>
              <a:defRPr sz="187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28416" y="1345406"/>
            <a:ext cx="2818917" cy="4397872"/>
          </a:xfrm>
        </p:spPr>
        <p:txBody>
          <a:bodyPr/>
          <a:lstStyle>
            <a:lvl1pPr marL="0" indent="0">
              <a:buNone/>
              <a:defRPr sz="1312"/>
            </a:lvl1pPr>
            <a:lvl2pPr marL="428396" indent="0">
              <a:buNone/>
              <a:defRPr sz="1124"/>
            </a:lvl2pPr>
            <a:lvl3pPr marL="856793" indent="0">
              <a:buNone/>
              <a:defRPr sz="937"/>
            </a:lvl3pPr>
            <a:lvl4pPr marL="1285189" indent="0">
              <a:buNone/>
              <a:defRPr sz="843"/>
            </a:lvl4pPr>
            <a:lvl5pPr marL="1713586" indent="0">
              <a:buNone/>
              <a:defRPr sz="843"/>
            </a:lvl5pPr>
            <a:lvl6pPr marL="2141982" indent="0">
              <a:buNone/>
              <a:defRPr sz="843"/>
            </a:lvl6pPr>
            <a:lvl7pPr marL="2570378" indent="0">
              <a:buNone/>
              <a:defRPr sz="843"/>
            </a:lvl7pPr>
            <a:lvl8pPr marL="2998775" indent="0">
              <a:buNone/>
              <a:defRPr sz="843"/>
            </a:lvl8pPr>
            <a:lvl9pPr marL="3427171" indent="0">
              <a:buNone/>
              <a:defRPr sz="843"/>
            </a:lvl9pPr>
          </a:lstStyle>
          <a:p>
            <a:pPr lvl="0"/>
            <a:r>
              <a:rPr lang="en-US"/>
              <a:t>Click to edit Master text styles</a:t>
            </a:r>
          </a:p>
        </p:txBody>
      </p:sp>
      <p:sp>
        <p:nvSpPr>
          <p:cNvPr id="5" name="Date Placeholder 4"/>
          <p:cNvSpPr>
            <a:spLocks noGrp="1"/>
          </p:cNvSpPr>
          <p:nvPr>
            <p:ph type="dt" sz="half" idx="10"/>
          </p:nvPr>
        </p:nvSpPr>
        <p:spPr/>
        <p:txBody>
          <a:bodyPr/>
          <a:lstStyle/>
          <a:p>
            <a:fld id="{20532436-246E-C341-8F9A-0B4F34C07184}" type="datetimeFigureOut">
              <a:rPr lang="en-US" smtClean="0"/>
              <a:pPr/>
              <a:t>6/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37860734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450" y="4500562"/>
            <a:ext cx="5140990" cy="531317"/>
          </a:xfrm>
        </p:spPr>
        <p:txBody>
          <a:bodyPr anchor="b"/>
          <a:lstStyle>
            <a:lvl1pPr algn="l">
              <a:defRPr sz="1874" b="1"/>
            </a:lvl1pPr>
          </a:lstStyle>
          <a:p>
            <a:r>
              <a:rPr lang="en-US"/>
              <a:t>Click to edit Master title style</a:t>
            </a:r>
          </a:p>
        </p:txBody>
      </p:sp>
      <p:sp>
        <p:nvSpPr>
          <p:cNvPr id="3" name="Picture Placeholder 2"/>
          <p:cNvSpPr>
            <a:spLocks noGrp="1"/>
          </p:cNvSpPr>
          <p:nvPr>
            <p:ph type="pic" idx="1"/>
          </p:nvPr>
        </p:nvSpPr>
        <p:spPr>
          <a:xfrm>
            <a:off x="1679450" y="574477"/>
            <a:ext cx="5140990" cy="3857625"/>
          </a:xfrm>
        </p:spPr>
        <p:txBody>
          <a:bodyPr/>
          <a:lstStyle>
            <a:lvl1pPr marL="0" indent="0">
              <a:buNone/>
              <a:defRPr sz="2998"/>
            </a:lvl1pPr>
            <a:lvl2pPr marL="428396" indent="0">
              <a:buNone/>
              <a:defRPr sz="2624"/>
            </a:lvl2pPr>
            <a:lvl3pPr marL="856793" indent="0">
              <a:buNone/>
              <a:defRPr sz="2249"/>
            </a:lvl3pPr>
            <a:lvl4pPr marL="1285189" indent="0">
              <a:buNone/>
              <a:defRPr sz="1874"/>
            </a:lvl4pPr>
            <a:lvl5pPr marL="1713586" indent="0">
              <a:buNone/>
              <a:defRPr sz="1874"/>
            </a:lvl5pPr>
            <a:lvl6pPr marL="2141982" indent="0">
              <a:buNone/>
              <a:defRPr sz="1874"/>
            </a:lvl6pPr>
            <a:lvl7pPr marL="2570378" indent="0">
              <a:buNone/>
              <a:defRPr sz="1874"/>
            </a:lvl7pPr>
            <a:lvl8pPr marL="2998775" indent="0">
              <a:buNone/>
              <a:defRPr sz="1874"/>
            </a:lvl8pPr>
            <a:lvl9pPr marL="3427171" indent="0">
              <a:buNone/>
              <a:defRPr sz="1874"/>
            </a:lvl9pPr>
          </a:lstStyle>
          <a:p>
            <a:endParaRPr lang="en-US"/>
          </a:p>
        </p:txBody>
      </p:sp>
      <p:sp>
        <p:nvSpPr>
          <p:cNvPr id="4" name="Text Placeholder 3"/>
          <p:cNvSpPr>
            <a:spLocks noGrp="1"/>
          </p:cNvSpPr>
          <p:nvPr>
            <p:ph type="body" sz="half" idx="2"/>
          </p:nvPr>
        </p:nvSpPr>
        <p:spPr>
          <a:xfrm>
            <a:off x="1679450" y="5031879"/>
            <a:ext cx="5140990" cy="754558"/>
          </a:xfrm>
        </p:spPr>
        <p:txBody>
          <a:bodyPr/>
          <a:lstStyle>
            <a:lvl1pPr marL="0" indent="0">
              <a:buNone/>
              <a:defRPr sz="1312"/>
            </a:lvl1pPr>
            <a:lvl2pPr marL="428396" indent="0">
              <a:buNone/>
              <a:defRPr sz="1124"/>
            </a:lvl2pPr>
            <a:lvl3pPr marL="856793" indent="0">
              <a:buNone/>
              <a:defRPr sz="937"/>
            </a:lvl3pPr>
            <a:lvl4pPr marL="1285189" indent="0">
              <a:buNone/>
              <a:defRPr sz="843"/>
            </a:lvl4pPr>
            <a:lvl5pPr marL="1713586" indent="0">
              <a:buNone/>
              <a:defRPr sz="843"/>
            </a:lvl5pPr>
            <a:lvl6pPr marL="2141982" indent="0">
              <a:buNone/>
              <a:defRPr sz="843"/>
            </a:lvl6pPr>
            <a:lvl7pPr marL="2570378" indent="0">
              <a:buNone/>
              <a:defRPr sz="843"/>
            </a:lvl7pPr>
            <a:lvl8pPr marL="2998775" indent="0">
              <a:buNone/>
              <a:defRPr sz="843"/>
            </a:lvl8pPr>
            <a:lvl9pPr marL="3427171" indent="0">
              <a:buNone/>
              <a:defRPr sz="843"/>
            </a:lvl9pPr>
          </a:lstStyle>
          <a:p>
            <a:pPr lvl="0"/>
            <a:r>
              <a:rPr lang="en-US"/>
              <a:t>Click to edit Master text styles</a:t>
            </a:r>
          </a:p>
        </p:txBody>
      </p:sp>
      <p:sp>
        <p:nvSpPr>
          <p:cNvPr id="5" name="Date Placeholder 4"/>
          <p:cNvSpPr>
            <a:spLocks noGrp="1"/>
          </p:cNvSpPr>
          <p:nvPr>
            <p:ph type="dt" sz="half" idx="10"/>
          </p:nvPr>
        </p:nvSpPr>
        <p:spPr/>
        <p:txBody>
          <a:bodyPr/>
          <a:lstStyle/>
          <a:p>
            <a:fld id="{20532436-246E-C341-8F9A-0B4F34C07184}" type="datetimeFigureOut">
              <a:rPr lang="en-US" smtClean="0"/>
              <a:pPr/>
              <a:t>6/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1473602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532436-246E-C341-8F9A-0B4F34C07184}" type="datetimeFigureOut">
              <a:rPr lang="en-US" smtClean="0"/>
              <a:pPr/>
              <a:t>6/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14736371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12029" y="257473"/>
            <a:ext cx="1927871" cy="548580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28416" y="257473"/>
            <a:ext cx="5640808" cy="54858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532436-246E-C341-8F9A-0B4F34C07184}" type="datetimeFigureOut">
              <a:rPr lang="en-US" smtClean="0"/>
              <a:pPr/>
              <a:t>6/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6943E6-0357-1B40-8726-50F09ABBA837}" type="slidenum">
              <a:rPr lang="en-US" smtClean="0"/>
              <a:pPr/>
              <a:t>‹#›</a:t>
            </a:fld>
            <a:endParaRPr lang="en-US"/>
          </a:p>
        </p:txBody>
      </p:sp>
    </p:spTree>
    <p:extLst>
      <p:ext uri="{BB962C8B-B14F-4D97-AF65-F5344CB8AC3E}">
        <p14:creationId xmlns:p14="http://schemas.microsoft.com/office/powerpoint/2010/main" val="13986359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4098"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Text Placeholder 6"/>
          <p:cNvSpPr>
            <a:spLocks noGrp="1"/>
          </p:cNvSpPr>
          <p:nvPr>
            <p:ph type="body" sz="quarter" idx="13"/>
          </p:nvPr>
        </p:nvSpPr>
        <p:spPr>
          <a:xfrm>
            <a:off x="508000" y="1634855"/>
            <a:ext cx="11176000" cy="4267200"/>
          </a:xfrm>
        </p:spPr>
        <p:txBody>
          <a:bodyPr>
            <a:normAutofit/>
          </a:bodyPr>
          <a:lstStyle>
            <a:lvl1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1pPr>
            <a:lvl2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2pPr>
            <a:lvl3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3pPr>
            <a:lvl4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4pPr>
            <a:lvl5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a:solidFill>
                  <a:schemeClr val="tx1"/>
                </a:solidFill>
                <a:latin typeface="+mn-lt"/>
                <a:ea typeface="+mn-ea"/>
                <a:cs typeface="+mn-cs"/>
                <a:sym typeface="+mn-lt"/>
              </a:defRPr>
            </a:lvl5pPr>
          </a:lstStyle>
          <a:p>
            <a:pPr lvl="0"/>
            <a:r>
              <a:rPr lang="en-US"/>
              <a:t>Click to edit Master text styles</a:t>
            </a:r>
          </a:p>
        </p:txBody>
      </p:sp>
      <p:sp>
        <p:nvSpPr>
          <p:cNvPr id="9" name="Title Placeholder 6"/>
          <p:cNvSpPr>
            <a:spLocks noGrp="1"/>
          </p:cNvSpPr>
          <p:nvPr>
            <p:ph type="title"/>
          </p:nvPr>
        </p:nvSpPr>
        <p:spPr>
          <a:xfrm>
            <a:off x="3" y="-4469"/>
            <a:ext cx="10888133" cy="640080"/>
          </a:xfrm>
          <a:prstGeom prst="rect">
            <a:avLst/>
          </a:prstGeom>
        </p:spPr>
        <p:txBody>
          <a:bodyPr vert="horz" lIns="91440" tIns="45720" rIns="91440" bIns="45720" rtlCol="0" anchor="ctr">
            <a:normAutofit/>
          </a:bodyPr>
          <a:lstStyle>
            <a:lvl1pPr>
              <a:defRPr>
                <a:latin typeface="+mj-lt"/>
                <a:ea typeface="+mj-ea"/>
                <a:cs typeface="+mj-cs"/>
                <a:sym typeface="+mj-lt"/>
              </a:defRPr>
            </a:lvl1pPr>
          </a:lstStyle>
          <a:p>
            <a:r>
              <a:rPr lang="en-US"/>
              <a:t>Click to edit Master title style</a:t>
            </a:r>
          </a:p>
        </p:txBody>
      </p:sp>
      <p:sp>
        <p:nvSpPr>
          <p:cNvPr id="10" name="TextBox 9"/>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2"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18679769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512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12" name="Rectangle 9"/>
          <p:cNvSpPr>
            <a:spLocks noChangeArrowheads="1"/>
          </p:cNvSpPr>
          <p:nvPr userDrawn="1"/>
        </p:nvSpPr>
        <p:spPr bwMode="auto">
          <a:xfrm>
            <a:off x="0" y="6500816"/>
            <a:ext cx="11887200" cy="371475"/>
          </a:xfrm>
          <a:prstGeom prst="rect">
            <a:avLst/>
          </a:prstGeom>
          <a:solidFill>
            <a:schemeClr val="tx2"/>
          </a:solidFill>
          <a:ln w="3175">
            <a:noFill/>
            <a:miter lim="800000"/>
            <a:headEnd/>
            <a:tailEnd/>
          </a:ln>
          <a:effectLst>
            <a:outerShdw dist="85194" dir="20006097" algn="ctr" rotWithShape="0">
              <a:srgbClr val="C0C0C0"/>
            </a:outerShdw>
          </a:effectLst>
        </p:spPr>
        <p:txBody>
          <a:bodyPr wrap="none" anchor="ctr"/>
          <a:lstStyle/>
          <a:p>
            <a:pPr>
              <a:defRPr/>
            </a:pPr>
            <a:endParaRPr lang="en-US" sz="1350">
              <a:solidFill>
                <a:srgbClr val="000000"/>
              </a:solidFill>
              <a:latin typeface="+mn-lt"/>
              <a:ea typeface="+mn-ea"/>
              <a:cs typeface="+mn-cs"/>
              <a:sym typeface="+mn-lt"/>
            </a:endParaRPr>
          </a:p>
        </p:txBody>
      </p:sp>
      <p:sp>
        <p:nvSpPr>
          <p:cNvPr id="15" name="TextBox 14"/>
          <p:cNvSpPr txBox="1"/>
          <p:nvPr userDrawn="1"/>
        </p:nvSpPr>
        <p:spPr>
          <a:xfrm>
            <a:off x="11302996" y="6657633"/>
            <a:ext cx="381000" cy="86627"/>
          </a:xfrm>
          <a:prstGeom prst="rect">
            <a:avLst/>
          </a:prstGeom>
          <a:noFill/>
        </p:spPr>
        <p:txBody>
          <a:bodyPr wrap="square" lIns="0" tIns="0" rIns="0" bIns="0" rtlCol="0" anchor="b">
            <a:spAutoFit/>
          </a:bodyPr>
          <a:lstStyle/>
          <a:p>
            <a:pPr marL="0" marR="0" indent="0" algn="r" defTabSz="514350" rtl="0" eaLnBrk="1" fontAlgn="auto" latinLnBrk="0" hangingPunct="1">
              <a:lnSpc>
                <a:spcPct val="100000"/>
              </a:lnSpc>
              <a:spcBef>
                <a:spcPts val="0"/>
              </a:spcBef>
              <a:spcAft>
                <a:spcPts val="0"/>
              </a:spcAft>
              <a:buClrTx/>
              <a:buSzTx/>
              <a:buFontTx/>
              <a:buNone/>
              <a:tabLst/>
              <a:defRPr/>
            </a:pPr>
            <a:fld id="{DFCF27A5-1A5B-48D3-A060-2758FFBB1ADD}" type="slidenum">
              <a:rPr lang="en-US" sz="563" kern="1200" smtClean="0">
                <a:solidFill>
                  <a:schemeClr val="bg1"/>
                </a:solidFill>
                <a:latin typeface="+mn-lt"/>
                <a:ea typeface="+mn-ea"/>
                <a:cs typeface="+mn-cs"/>
                <a:sym typeface="+mn-lt"/>
              </a:rPr>
              <a:pPr marL="0" marR="0" indent="0" algn="r" defTabSz="514350" rtl="0" eaLnBrk="1" fontAlgn="auto" latinLnBrk="0" hangingPunct="1">
                <a:lnSpc>
                  <a:spcPct val="100000"/>
                </a:lnSpc>
                <a:spcBef>
                  <a:spcPts val="0"/>
                </a:spcBef>
                <a:spcAft>
                  <a:spcPts val="0"/>
                </a:spcAft>
                <a:buClrTx/>
                <a:buSzTx/>
                <a:buFontTx/>
                <a:buNone/>
                <a:tabLst/>
                <a:defRPr/>
              </a:pPr>
              <a:t>‹#›</a:t>
            </a:fld>
            <a:endParaRPr lang="en-US" sz="563" kern="1200">
              <a:solidFill>
                <a:schemeClr val="bg1"/>
              </a:solidFill>
              <a:latin typeface="+mn-lt"/>
              <a:ea typeface="+mn-ea"/>
              <a:cs typeface="+mn-cs"/>
              <a:sym typeface="+mn-lt"/>
            </a:endParaRPr>
          </a:p>
        </p:txBody>
      </p:sp>
      <p:sp>
        <p:nvSpPr>
          <p:cNvPr id="17" name="Rectangle 11"/>
          <p:cNvSpPr>
            <a:spLocks noChangeArrowheads="1"/>
          </p:cNvSpPr>
          <p:nvPr userDrawn="1"/>
        </p:nvSpPr>
        <p:spPr bwMode="auto">
          <a:xfrm>
            <a:off x="2" y="0"/>
            <a:ext cx="10922209" cy="660400"/>
          </a:xfrm>
          <a:prstGeom prst="rect">
            <a:avLst/>
          </a:prstGeom>
          <a:solidFill>
            <a:srgbClr val="175191"/>
          </a:solidFill>
          <a:ln w="9525">
            <a:noFill/>
            <a:miter lim="800000"/>
            <a:headEnd/>
            <a:tailEnd/>
          </a:ln>
          <a:effectLst/>
        </p:spPr>
        <p:txBody>
          <a:bodyPr wrap="none" anchor="ctr"/>
          <a:lstStyle/>
          <a:p>
            <a:pPr>
              <a:defRPr/>
            </a:pPr>
            <a:endParaRPr lang="en-US" sz="1800">
              <a:solidFill>
                <a:srgbClr val="000000"/>
              </a:solidFill>
              <a:latin typeface="+mn-lt"/>
              <a:ea typeface="+mn-ea"/>
              <a:cs typeface="+mn-cs"/>
              <a:sym typeface="+mn-lt"/>
            </a:endParaRPr>
          </a:p>
        </p:txBody>
      </p:sp>
      <p:sp>
        <p:nvSpPr>
          <p:cNvPr id="18" name="Title Placeholder 6"/>
          <p:cNvSpPr>
            <a:spLocks noGrp="1"/>
          </p:cNvSpPr>
          <p:nvPr>
            <p:ph type="title"/>
          </p:nvPr>
        </p:nvSpPr>
        <p:spPr>
          <a:xfrm>
            <a:off x="3" y="-4469"/>
            <a:ext cx="10888133" cy="640080"/>
          </a:xfrm>
          <a:prstGeom prst="rect">
            <a:avLst/>
          </a:prstGeom>
        </p:spPr>
        <p:txBody>
          <a:bodyPr vert="horz" lIns="91440" tIns="45720" rIns="91440" bIns="45720" rtlCol="0" anchor="ctr">
            <a:normAutofit/>
          </a:bodyPr>
          <a:lstStyle>
            <a:lvl1pPr>
              <a:defRPr>
                <a:latin typeface="+mj-lt"/>
                <a:ea typeface="+mj-ea"/>
                <a:cs typeface="+mj-cs"/>
                <a:sym typeface="+mj-lt"/>
              </a:defRPr>
            </a:lvl1pPr>
          </a:lstStyle>
          <a:p>
            <a:r>
              <a:rPr lang="en-US"/>
              <a:t>Click to edit Master title style</a:t>
            </a:r>
          </a:p>
        </p:txBody>
      </p:sp>
      <p:pic>
        <p:nvPicPr>
          <p:cNvPr id="14" name="Picture 13"/>
          <p:cNvPicPr>
            <a:picLocks noChangeAspect="1"/>
          </p:cNvPicPr>
          <p:nvPr userDrawn="1"/>
        </p:nvPicPr>
        <p:blipFill rotWithShape="1">
          <a:blip r:embed="rId6"/>
          <a:srcRect l="7316" r="12810" b="8961"/>
          <a:stretch/>
        </p:blipFill>
        <p:spPr>
          <a:xfrm>
            <a:off x="11299528" y="110599"/>
            <a:ext cx="587672" cy="491461"/>
          </a:xfrm>
          <a:prstGeom prst="rect">
            <a:avLst/>
          </a:prstGeom>
        </p:spPr>
      </p:pic>
      <p:sp>
        <p:nvSpPr>
          <p:cNvPr id="10" name="TextBox 9"/>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1"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1052937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614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12" name="Rectangle 9"/>
          <p:cNvSpPr>
            <a:spLocks noChangeArrowheads="1"/>
          </p:cNvSpPr>
          <p:nvPr userDrawn="1"/>
        </p:nvSpPr>
        <p:spPr bwMode="auto">
          <a:xfrm>
            <a:off x="0" y="6500816"/>
            <a:ext cx="11887200" cy="371475"/>
          </a:xfrm>
          <a:prstGeom prst="rect">
            <a:avLst/>
          </a:prstGeom>
          <a:solidFill>
            <a:schemeClr val="tx2"/>
          </a:solidFill>
          <a:ln w="3175">
            <a:noFill/>
            <a:miter lim="800000"/>
            <a:headEnd/>
            <a:tailEnd/>
          </a:ln>
          <a:effectLst>
            <a:outerShdw dist="85194" dir="20006097" algn="ctr" rotWithShape="0">
              <a:srgbClr val="C0C0C0"/>
            </a:outerShdw>
          </a:effectLst>
        </p:spPr>
        <p:txBody>
          <a:bodyPr wrap="none" anchor="ctr"/>
          <a:lstStyle/>
          <a:p>
            <a:pPr>
              <a:defRPr/>
            </a:pPr>
            <a:endParaRPr lang="en-US" sz="1350">
              <a:solidFill>
                <a:srgbClr val="000000"/>
              </a:solidFill>
              <a:latin typeface="+mn-lt"/>
              <a:ea typeface="+mn-ea"/>
              <a:cs typeface="+mn-cs"/>
              <a:sym typeface="+mn-lt"/>
            </a:endParaRPr>
          </a:p>
        </p:txBody>
      </p:sp>
      <p:sp>
        <p:nvSpPr>
          <p:cNvPr id="15" name="TextBox 14"/>
          <p:cNvSpPr txBox="1"/>
          <p:nvPr userDrawn="1"/>
        </p:nvSpPr>
        <p:spPr>
          <a:xfrm>
            <a:off x="11302996" y="6657633"/>
            <a:ext cx="381000" cy="86627"/>
          </a:xfrm>
          <a:prstGeom prst="rect">
            <a:avLst/>
          </a:prstGeom>
          <a:noFill/>
        </p:spPr>
        <p:txBody>
          <a:bodyPr wrap="square" lIns="0" tIns="0" rIns="0" bIns="0" rtlCol="0" anchor="b">
            <a:spAutoFit/>
          </a:bodyPr>
          <a:lstStyle/>
          <a:p>
            <a:pPr marL="0" marR="0" indent="0" algn="r" defTabSz="514350" rtl="0" eaLnBrk="1" fontAlgn="auto" latinLnBrk="0" hangingPunct="1">
              <a:lnSpc>
                <a:spcPct val="100000"/>
              </a:lnSpc>
              <a:spcBef>
                <a:spcPts val="0"/>
              </a:spcBef>
              <a:spcAft>
                <a:spcPts val="0"/>
              </a:spcAft>
              <a:buClrTx/>
              <a:buSzTx/>
              <a:buFontTx/>
              <a:buNone/>
              <a:tabLst/>
              <a:defRPr/>
            </a:pPr>
            <a:fld id="{DFCF27A5-1A5B-48D3-A060-2758FFBB1ADD}" type="slidenum">
              <a:rPr lang="en-US" sz="563" kern="1200" smtClean="0">
                <a:solidFill>
                  <a:schemeClr val="bg1"/>
                </a:solidFill>
                <a:latin typeface="+mn-lt"/>
                <a:ea typeface="+mn-ea"/>
                <a:cs typeface="+mn-cs"/>
                <a:sym typeface="+mn-lt"/>
              </a:rPr>
              <a:pPr marL="0" marR="0" indent="0" algn="r" defTabSz="514350" rtl="0" eaLnBrk="1" fontAlgn="auto" latinLnBrk="0" hangingPunct="1">
                <a:lnSpc>
                  <a:spcPct val="100000"/>
                </a:lnSpc>
                <a:spcBef>
                  <a:spcPts val="0"/>
                </a:spcBef>
                <a:spcAft>
                  <a:spcPts val="0"/>
                </a:spcAft>
                <a:buClrTx/>
                <a:buSzTx/>
                <a:buFontTx/>
                <a:buNone/>
                <a:tabLst/>
                <a:defRPr/>
              </a:pPr>
              <a:t>‹#›</a:t>
            </a:fld>
            <a:endParaRPr lang="en-US" sz="563" kern="1200">
              <a:solidFill>
                <a:schemeClr val="bg1"/>
              </a:solidFill>
              <a:latin typeface="+mn-lt"/>
              <a:ea typeface="+mn-ea"/>
              <a:cs typeface="+mn-cs"/>
              <a:sym typeface="+mn-lt"/>
            </a:endParaRPr>
          </a:p>
        </p:txBody>
      </p:sp>
      <p:sp>
        <p:nvSpPr>
          <p:cNvPr id="10" name="Rectangle 11"/>
          <p:cNvSpPr>
            <a:spLocks noChangeArrowheads="1"/>
          </p:cNvSpPr>
          <p:nvPr userDrawn="1"/>
        </p:nvSpPr>
        <p:spPr bwMode="auto">
          <a:xfrm>
            <a:off x="2" y="0"/>
            <a:ext cx="10922209" cy="660400"/>
          </a:xfrm>
          <a:prstGeom prst="rect">
            <a:avLst/>
          </a:prstGeom>
          <a:solidFill>
            <a:srgbClr val="175191"/>
          </a:solidFill>
          <a:ln w="9525">
            <a:noFill/>
            <a:miter lim="800000"/>
            <a:headEnd/>
            <a:tailEnd/>
          </a:ln>
          <a:effectLst/>
        </p:spPr>
        <p:txBody>
          <a:bodyPr wrap="none" anchor="ctr"/>
          <a:lstStyle/>
          <a:p>
            <a:pPr>
              <a:defRPr/>
            </a:pPr>
            <a:endParaRPr lang="en-US" sz="1800">
              <a:solidFill>
                <a:srgbClr val="000000"/>
              </a:solidFill>
              <a:latin typeface="+mn-lt"/>
              <a:ea typeface="+mn-ea"/>
              <a:cs typeface="+mn-cs"/>
              <a:sym typeface="+mn-lt"/>
            </a:endParaRPr>
          </a:p>
        </p:txBody>
      </p:sp>
      <p:pic>
        <p:nvPicPr>
          <p:cNvPr id="14" name="Picture 13"/>
          <p:cNvPicPr>
            <a:picLocks noChangeAspect="1"/>
          </p:cNvPicPr>
          <p:nvPr userDrawn="1"/>
        </p:nvPicPr>
        <p:blipFill rotWithShape="1">
          <a:blip r:embed="rId6"/>
          <a:srcRect l="7316" r="12810" b="8961"/>
          <a:stretch/>
        </p:blipFill>
        <p:spPr>
          <a:xfrm>
            <a:off x="11299528" y="110599"/>
            <a:ext cx="587672" cy="491461"/>
          </a:xfrm>
          <a:prstGeom prst="rect">
            <a:avLst/>
          </a:prstGeom>
        </p:spPr>
      </p:pic>
      <p:sp>
        <p:nvSpPr>
          <p:cNvPr id="9" name="TextBox 8"/>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6"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2454368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isscussion Dra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717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15" name="Title 4"/>
          <p:cNvSpPr>
            <a:spLocks noGrp="1"/>
          </p:cNvSpPr>
          <p:nvPr>
            <p:ph type="title"/>
          </p:nvPr>
        </p:nvSpPr>
        <p:spPr>
          <a:xfrm>
            <a:off x="460992" y="3080200"/>
            <a:ext cx="11418080" cy="583236"/>
          </a:xfrm>
          <a:prstGeom prst="rect">
            <a:avLst/>
          </a:prstGeom>
        </p:spPr>
        <p:txBody>
          <a:bodyPr lIns="91440" tIns="45720" rIns="91440" bIns="45720"/>
          <a:lstStyle>
            <a:lvl1pPr algn="l">
              <a:defRPr sz="1800" b="1">
                <a:solidFill>
                  <a:schemeClr val="tx1"/>
                </a:solidFill>
                <a:latin typeface="+mj-lt"/>
                <a:ea typeface="+mj-ea"/>
                <a:cs typeface="+mj-cs"/>
                <a:sym typeface="+mj-lt"/>
              </a:defRPr>
            </a:lvl1pPr>
          </a:lstStyle>
          <a:p>
            <a:r>
              <a:rPr lang="en-US"/>
              <a:t>Click to edit Master title style</a:t>
            </a:r>
          </a:p>
        </p:txBody>
      </p:sp>
      <p:sp>
        <p:nvSpPr>
          <p:cNvPr id="24" name="Text Placeholder 11"/>
          <p:cNvSpPr>
            <a:spLocks noGrp="1"/>
          </p:cNvSpPr>
          <p:nvPr>
            <p:ph type="body" sz="quarter" idx="13" hasCustomPrompt="1"/>
          </p:nvPr>
        </p:nvSpPr>
        <p:spPr>
          <a:xfrm>
            <a:off x="460992" y="3768400"/>
            <a:ext cx="11418080" cy="506412"/>
          </a:xfrm>
          <a:prstGeom prst="rect">
            <a:avLst/>
          </a:prstGeom>
        </p:spPr>
        <p:txBody>
          <a:bodyPr>
            <a:normAutofit/>
          </a:bodyPr>
          <a:lstStyle>
            <a:lvl1pPr>
              <a:defRPr sz="1500">
                <a:latin typeface="+mn-lt"/>
                <a:ea typeface="+mn-ea"/>
                <a:cs typeface="+mn-cs"/>
                <a:sym typeface="+mn-lt"/>
              </a:defRPr>
            </a:lvl1pPr>
          </a:lstStyle>
          <a:p>
            <a:pPr lvl="0"/>
            <a:r>
              <a:rPr lang="en-US"/>
              <a:t>Date</a:t>
            </a:r>
          </a:p>
        </p:txBody>
      </p:sp>
      <p:grpSp>
        <p:nvGrpSpPr>
          <p:cNvPr id="25" name="Group 24"/>
          <p:cNvGrpSpPr/>
          <p:nvPr userDrawn="1"/>
        </p:nvGrpSpPr>
        <p:grpSpPr>
          <a:xfrm>
            <a:off x="460994" y="1150878"/>
            <a:ext cx="2203831" cy="1775053"/>
            <a:chOff x="5848709" y="897145"/>
            <a:chExt cx="1859683" cy="1328469"/>
          </a:xfrm>
        </p:grpSpPr>
        <p:sp>
          <p:nvSpPr>
            <p:cNvPr id="26" name="Rectangle 25"/>
            <p:cNvSpPr/>
            <p:nvPr/>
          </p:nvSpPr>
          <p:spPr>
            <a:xfrm>
              <a:off x="5848709" y="992036"/>
              <a:ext cx="1859683" cy="1138687"/>
            </a:xfrm>
            <a:prstGeom prst="rect">
              <a:avLst/>
            </a:prstGeom>
            <a:noFill/>
            <a:ln w="9525"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17519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700">
                  <a:solidFill>
                    <a:srgbClr val="175191"/>
                  </a:solidFill>
                  <a:latin typeface="+mn-lt"/>
                  <a:ea typeface="+mn-ea"/>
                  <a:cs typeface="+mn-cs"/>
                  <a:sym typeface="+mn-lt"/>
                </a:rPr>
                <a:t>Grants QSMO</a:t>
              </a:r>
            </a:p>
          </p:txBody>
        </p:sp>
        <p:cxnSp>
          <p:nvCxnSpPr>
            <p:cNvPr id="27" name="Straight Connector 26"/>
            <p:cNvCxnSpPr/>
            <p:nvPr/>
          </p:nvCxnSpPr>
          <p:spPr>
            <a:xfrm>
              <a:off x="5848709" y="974784"/>
              <a:ext cx="1859683" cy="0"/>
            </a:xfrm>
            <a:prstGeom prst="line">
              <a:avLst/>
            </a:prstGeom>
            <a:ln w="57150" cap="flat" cmpd="sng" algn="ctr">
              <a:solidFill>
                <a:srgbClr val="E31C3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848709" y="897145"/>
              <a:ext cx="1859683" cy="0"/>
            </a:xfrm>
            <a:prstGeom prst="line">
              <a:avLst/>
            </a:prstGeom>
            <a:ln w="28575" cap="flat" cmpd="sng" algn="ctr">
              <a:solidFill>
                <a:srgbClr val="E31C3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flipV="1">
              <a:off x="5848709" y="2147975"/>
              <a:ext cx="1859683" cy="77639"/>
              <a:chOff x="6001109" y="1049545"/>
              <a:chExt cx="1613139" cy="77639"/>
            </a:xfrm>
          </p:grpSpPr>
          <p:cxnSp>
            <p:nvCxnSpPr>
              <p:cNvPr id="31" name="Straight Connector 30"/>
              <p:cNvCxnSpPr/>
              <p:nvPr/>
            </p:nvCxnSpPr>
            <p:spPr>
              <a:xfrm>
                <a:off x="6001109" y="1127184"/>
                <a:ext cx="1613139" cy="0"/>
              </a:xfrm>
              <a:prstGeom prst="line">
                <a:avLst/>
              </a:prstGeom>
              <a:ln w="57150" cap="flat" cmpd="sng" algn="ctr">
                <a:solidFill>
                  <a:srgbClr val="E31C3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001109" y="1049545"/>
                <a:ext cx="1613139" cy="0"/>
              </a:xfrm>
              <a:prstGeom prst="line">
                <a:avLst/>
              </a:prstGeom>
              <a:ln w="28575" cap="flat" cmpd="sng" algn="ctr">
                <a:solidFill>
                  <a:srgbClr val="E31C3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14" name="TextBox 13"/>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7"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1039941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 (Disscussion Dra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8194"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Title 1"/>
          <p:cNvSpPr>
            <a:spLocks noGrp="1"/>
          </p:cNvSpPr>
          <p:nvPr>
            <p:ph type="title"/>
          </p:nvPr>
        </p:nvSpPr>
        <p:spPr>
          <a:xfrm>
            <a:off x="0" y="-4469"/>
            <a:ext cx="10888133" cy="640080"/>
          </a:xfrm>
          <a:prstGeom prst="rect">
            <a:avLst/>
          </a:prstGeom>
        </p:spPr>
        <p:txBody>
          <a:bodyPr/>
          <a:lstStyle>
            <a:lvl1pPr marL="0" algn="l" defTabSz="685800" rtl="0" eaLnBrk="1" latinLnBrk="0" hangingPunct="1">
              <a:defRPr lang="en-US" sz="1650" b="1" kern="1200" dirty="0">
                <a:solidFill>
                  <a:schemeClr val="bg1"/>
                </a:solidFill>
                <a:latin typeface="+mj-lt"/>
                <a:ea typeface="+mj-ea"/>
                <a:cs typeface="+mj-cs"/>
                <a:sym typeface="+mj-lt"/>
              </a:defRPr>
            </a:lvl1pPr>
          </a:lstStyle>
          <a:p>
            <a:r>
              <a:rPr lang="en-US"/>
              <a:t>Click to edit Master title style</a:t>
            </a:r>
          </a:p>
        </p:txBody>
      </p:sp>
      <p:sp>
        <p:nvSpPr>
          <p:cNvPr id="7" name="Text Placeholder 6"/>
          <p:cNvSpPr>
            <a:spLocks noGrp="1"/>
          </p:cNvSpPr>
          <p:nvPr>
            <p:ph type="body" sz="quarter" idx="13"/>
          </p:nvPr>
        </p:nvSpPr>
        <p:spPr>
          <a:xfrm>
            <a:off x="508000" y="1634855"/>
            <a:ext cx="11176000" cy="4267200"/>
          </a:xfrm>
        </p:spPr>
        <p:txBody>
          <a:bodyPr>
            <a:normAutofit/>
          </a:bodyPr>
          <a:lstStyle>
            <a:lvl1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1pPr>
            <a:lvl2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2pPr>
            <a:lvl3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3pPr>
            <a:lvl4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4pPr>
            <a:lvl5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a:solidFill>
                  <a:schemeClr val="tx1"/>
                </a:solidFill>
                <a:latin typeface="+mn-lt"/>
                <a:ea typeface="+mn-ea"/>
                <a:cs typeface="+mn-cs"/>
                <a:sym typeface="+mn-lt"/>
              </a:defRPr>
            </a:lvl5pPr>
          </a:lstStyle>
          <a:p>
            <a:pPr lvl="0"/>
            <a:r>
              <a:rPr lang="en-US"/>
              <a:t>Click to edit Master text styles</a:t>
            </a:r>
          </a:p>
        </p:txBody>
      </p:sp>
      <p:sp>
        <p:nvSpPr>
          <p:cNvPr id="9" name="TextBox 8"/>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1"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42085714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Disscussion Dra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9218"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5" name="Title 1"/>
          <p:cNvSpPr>
            <a:spLocks noGrp="1"/>
          </p:cNvSpPr>
          <p:nvPr>
            <p:ph type="title"/>
          </p:nvPr>
        </p:nvSpPr>
        <p:spPr>
          <a:xfrm>
            <a:off x="0" y="-4469"/>
            <a:ext cx="10888133" cy="640080"/>
          </a:xfrm>
          <a:prstGeom prst="rect">
            <a:avLst/>
          </a:prstGeom>
        </p:spPr>
        <p:txBody>
          <a:bodyPr/>
          <a:lstStyle>
            <a:lvl1pPr marL="0" algn="l" defTabSz="685800" rtl="0" eaLnBrk="1" latinLnBrk="0" hangingPunct="1">
              <a:defRPr lang="en-US" sz="1650" b="1" kern="1200" dirty="0">
                <a:solidFill>
                  <a:schemeClr val="bg1"/>
                </a:solidFill>
                <a:latin typeface="+mj-lt"/>
                <a:ea typeface="+mj-ea"/>
                <a:cs typeface="+mj-cs"/>
                <a:sym typeface="+mj-lt"/>
              </a:defRPr>
            </a:lvl1pPr>
          </a:lstStyle>
          <a:p>
            <a:r>
              <a:rPr lang="en-US"/>
              <a:t>Click to edit Master title style</a:t>
            </a:r>
          </a:p>
        </p:txBody>
      </p:sp>
      <p:sp>
        <p:nvSpPr>
          <p:cNvPr id="7" name="Text Placeholder 6"/>
          <p:cNvSpPr>
            <a:spLocks noGrp="1"/>
          </p:cNvSpPr>
          <p:nvPr>
            <p:ph type="body" sz="quarter" idx="13"/>
          </p:nvPr>
        </p:nvSpPr>
        <p:spPr>
          <a:xfrm>
            <a:off x="508000" y="1634855"/>
            <a:ext cx="11176000" cy="4267200"/>
          </a:xfrm>
        </p:spPr>
        <p:txBody>
          <a:bodyPr>
            <a:normAutofit/>
          </a:bodyPr>
          <a:lstStyle>
            <a:lvl1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1pPr>
            <a:lvl2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2pPr>
            <a:lvl3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3pPr>
            <a:lvl4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smtClean="0">
                <a:solidFill>
                  <a:schemeClr val="tx1"/>
                </a:solidFill>
                <a:latin typeface="+mn-lt"/>
                <a:ea typeface="+mn-ea"/>
                <a:cs typeface="+mn-cs"/>
                <a:sym typeface="+mn-lt"/>
              </a:defRPr>
            </a:lvl4pPr>
            <a:lvl5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0" i="0" kern="1200" baseline="0" dirty="0">
                <a:solidFill>
                  <a:schemeClr val="tx1"/>
                </a:solidFill>
                <a:latin typeface="+mn-lt"/>
                <a:ea typeface="+mn-ea"/>
                <a:cs typeface="+mn-cs"/>
                <a:sym typeface="+mn-lt"/>
              </a:defRPr>
            </a:lvl5pPr>
          </a:lstStyle>
          <a:p>
            <a:pPr lvl="0"/>
            <a:r>
              <a:rPr lang="en-US"/>
              <a:t>Click to edit Master text styles</a:t>
            </a:r>
          </a:p>
        </p:txBody>
      </p:sp>
      <p:sp>
        <p:nvSpPr>
          <p:cNvPr id="9" name="TextBox 8"/>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1"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31751247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Disscussion Dra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24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13" name="Rectangle 11"/>
          <p:cNvSpPr>
            <a:spLocks noChangeArrowheads="1"/>
          </p:cNvSpPr>
          <p:nvPr userDrawn="1"/>
        </p:nvSpPr>
        <p:spPr bwMode="auto">
          <a:xfrm>
            <a:off x="2" y="0"/>
            <a:ext cx="10922209" cy="660400"/>
          </a:xfrm>
          <a:prstGeom prst="rect">
            <a:avLst/>
          </a:prstGeom>
          <a:solidFill>
            <a:srgbClr val="175191"/>
          </a:solidFill>
          <a:ln w="9525">
            <a:noFill/>
            <a:miter lim="800000"/>
            <a:headEnd/>
            <a:tailEnd/>
          </a:ln>
          <a:effectLst/>
        </p:spPr>
        <p:txBody>
          <a:bodyPr wrap="none" anchor="ctr"/>
          <a:lstStyle/>
          <a:p>
            <a:pPr>
              <a:defRPr/>
            </a:pPr>
            <a:endParaRPr lang="en-US" sz="1800">
              <a:solidFill>
                <a:srgbClr val="000000"/>
              </a:solidFill>
              <a:latin typeface="+mn-lt"/>
              <a:ea typeface="+mn-ea"/>
              <a:cs typeface="+mn-cs"/>
              <a:sym typeface="+mn-lt"/>
            </a:endParaRPr>
          </a:p>
        </p:txBody>
      </p:sp>
      <p:sp>
        <p:nvSpPr>
          <p:cNvPr id="10" name="Title 1"/>
          <p:cNvSpPr>
            <a:spLocks noGrp="1"/>
          </p:cNvSpPr>
          <p:nvPr>
            <p:ph type="title"/>
          </p:nvPr>
        </p:nvSpPr>
        <p:spPr>
          <a:xfrm>
            <a:off x="0" y="-4469"/>
            <a:ext cx="10888133" cy="640080"/>
          </a:xfrm>
          <a:prstGeom prst="rect">
            <a:avLst/>
          </a:prstGeom>
        </p:spPr>
        <p:txBody>
          <a:bodyPr>
            <a:normAutofit/>
          </a:bodyPr>
          <a:lstStyle>
            <a:lvl1pPr marL="0" algn="l" defTabSz="685800" rtl="0" eaLnBrk="1" latinLnBrk="0" hangingPunct="1">
              <a:defRPr lang="en-US" sz="1650" b="1" kern="1200" dirty="0">
                <a:solidFill>
                  <a:schemeClr val="bg1"/>
                </a:solidFill>
                <a:latin typeface="+mj-lt"/>
                <a:ea typeface="+mj-ea"/>
                <a:cs typeface="+mj-cs"/>
                <a:sym typeface="+mj-lt"/>
              </a:defRPr>
            </a:lvl1pPr>
          </a:lstStyle>
          <a:p>
            <a:r>
              <a:rPr lang="en-US"/>
              <a:t>Click to edit Master title style</a:t>
            </a:r>
          </a:p>
        </p:txBody>
      </p:sp>
      <p:sp>
        <p:nvSpPr>
          <p:cNvPr id="12" name="Rectangle 9"/>
          <p:cNvSpPr>
            <a:spLocks noChangeArrowheads="1"/>
          </p:cNvSpPr>
          <p:nvPr userDrawn="1"/>
        </p:nvSpPr>
        <p:spPr bwMode="auto">
          <a:xfrm>
            <a:off x="0" y="6500816"/>
            <a:ext cx="11887200" cy="371475"/>
          </a:xfrm>
          <a:prstGeom prst="rect">
            <a:avLst/>
          </a:prstGeom>
          <a:solidFill>
            <a:schemeClr val="tx2"/>
          </a:solidFill>
          <a:ln w="3175">
            <a:noFill/>
            <a:miter lim="800000"/>
            <a:headEnd/>
            <a:tailEnd/>
          </a:ln>
          <a:effectLst>
            <a:outerShdw dist="85194" dir="20006097" algn="ctr" rotWithShape="0">
              <a:srgbClr val="C0C0C0"/>
            </a:outerShdw>
          </a:effectLst>
        </p:spPr>
        <p:txBody>
          <a:bodyPr wrap="none" anchor="ctr"/>
          <a:lstStyle/>
          <a:p>
            <a:pPr>
              <a:defRPr/>
            </a:pPr>
            <a:endParaRPr lang="en-US" sz="1350">
              <a:solidFill>
                <a:srgbClr val="000000"/>
              </a:solidFill>
              <a:latin typeface="+mn-lt"/>
              <a:ea typeface="+mn-ea"/>
              <a:cs typeface="+mn-cs"/>
              <a:sym typeface="+mn-lt"/>
            </a:endParaRPr>
          </a:p>
        </p:txBody>
      </p:sp>
      <p:sp>
        <p:nvSpPr>
          <p:cNvPr id="15" name="TextBox 14"/>
          <p:cNvSpPr txBox="1"/>
          <p:nvPr userDrawn="1"/>
        </p:nvSpPr>
        <p:spPr>
          <a:xfrm>
            <a:off x="11302996" y="6657633"/>
            <a:ext cx="381000" cy="86627"/>
          </a:xfrm>
          <a:prstGeom prst="rect">
            <a:avLst/>
          </a:prstGeom>
          <a:noFill/>
        </p:spPr>
        <p:txBody>
          <a:bodyPr wrap="square" lIns="0" tIns="0" rIns="0" bIns="0" rtlCol="0" anchor="b">
            <a:spAutoFit/>
          </a:bodyPr>
          <a:lstStyle/>
          <a:p>
            <a:pPr marL="0" marR="0" indent="0" algn="r" defTabSz="514350" rtl="0" eaLnBrk="1" fontAlgn="auto" latinLnBrk="0" hangingPunct="1">
              <a:lnSpc>
                <a:spcPct val="100000"/>
              </a:lnSpc>
              <a:spcBef>
                <a:spcPts val="0"/>
              </a:spcBef>
              <a:spcAft>
                <a:spcPts val="0"/>
              </a:spcAft>
              <a:buClrTx/>
              <a:buSzTx/>
              <a:buFontTx/>
              <a:buNone/>
              <a:tabLst/>
              <a:defRPr/>
            </a:pPr>
            <a:fld id="{DFCF27A5-1A5B-48D3-A060-2758FFBB1ADD}" type="slidenum">
              <a:rPr lang="en-US" sz="563" kern="1200" smtClean="0">
                <a:solidFill>
                  <a:schemeClr val="bg1"/>
                </a:solidFill>
                <a:latin typeface="+mn-lt"/>
                <a:ea typeface="+mn-ea"/>
                <a:cs typeface="+mn-cs"/>
                <a:sym typeface="+mn-lt"/>
              </a:rPr>
              <a:pPr marL="0" marR="0" indent="0" algn="r" defTabSz="514350" rtl="0" eaLnBrk="1" fontAlgn="auto" latinLnBrk="0" hangingPunct="1">
                <a:lnSpc>
                  <a:spcPct val="100000"/>
                </a:lnSpc>
                <a:spcBef>
                  <a:spcPts val="0"/>
                </a:spcBef>
                <a:spcAft>
                  <a:spcPts val="0"/>
                </a:spcAft>
                <a:buClrTx/>
                <a:buSzTx/>
                <a:buFontTx/>
                <a:buNone/>
                <a:tabLst/>
                <a:defRPr/>
              </a:pPr>
              <a:t>‹#›</a:t>
            </a:fld>
            <a:endParaRPr lang="en-US" sz="563" kern="1200">
              <a:solidFill>
                <a:schemeClr val="bg1"/>
              </a:solidFill>
              <a:latin typeface="+mn-lt"/>
              <a:ea typeface="+mn-ea"/>
              <a:cs typeface="+mn-cs"/>
              <a:sym typeface="+mn-lt"/>
            </a:endParaRPr>
          </a:p>
        </p:txBody>
      </p:sp>
      <p:pic>
        <p:nvPicPr>
          <p:cNvPr id="14" name="Picture 13"/>
          <p:cNvPicPr>
            <a:picLocks noChangeAspect="1"/>
          </p:cNvPicPr>
          <p:nvPr userDrawn="1"/>
        </p:nvPicPr>
        <p:blipFill rotWithShape="1">
          <a:blip r:embed="rId6"/>
          <a:srcRect l="7316" r="12810" b="8961"/>
          <a:stretch/>
        </p:blipFill>
        <p:spPr>
          <a:xfrm>
            <a:off x="11299528" y="110599"/>
            <a:ext cx="587672" cy="491461"/>
          </a:xfrm>
          <a:prstGeom prst="rect">
            <a:avLst/>
          </a:prstGeom>
        </p:spPr>
      </p:pic>
      <p:sp>
        <p:nvSpPr>
          <p:cNvPr id="11" name="TextBox 10"/>
          <p:cNvSpPr txBox="1"/>
          <p:nvPr userDrawn="1"/>
        </p:nvSpPr>
        <p:spPr>
          <a:xfrm flipH="1">
            <a:off x="2346960" y="6534969"/>
            <a:ext cx="8674355" cy="285750"/>
          </a:xfrm>
          <a:prstGeom prst="rect">
            <a:avLst/>
          </a:prstGeom>
          <a:noFill/>
        </p:spPr>
        <p:txBody>
          <a:bodyPr wrap="none" rtlCol="0" anchor="ctr">
            <a:noAutofit/>
          </a:bodyPr>
          <a:lstStyle/>
          <a:p>
            <a:pPr algn="ctr"/>
            <a:r>
              <a:rPr lang="en-US" sz="900" i="1">
                <a:solidFill>
                  <a:schemeClr val="bg1"/>
                </a:solidFill>
                <a:latin typeface="+mn-lt"/>
                <a:ea typeface="+mn-ea"/>
                <a:cs typeface="+mn-cs"/>
                <a:sym typeface="+mn-lt"/>
              </a:rPr>
              <a:t>PROCUREMENT SENSITIVE – DO NOT DISTRIBUTE</a:t>
            </a:r>
            <a:r>
              <a:rPr lang="en-US" sz="900" i="1" baseline="0">
                <a:solidFill>
                  <a:schemeClr val="bg1"/>
                </a:solidFill>
                <a:latin typeface="+mn-lt"/>
                <a:ea typeface="+mn-ea"/>
                <a:cs typeface="+mn-cs"/>
                <a:sym typeface="+mn-lt"/>
              </a:rPr>
              <a:t> – D</a:t>
            </a:r>
            <a:r>
              <a:rPr lang="en-US" sz="900" i="1">
                <a:solidFill>
                  <a:schemeClr val="bg1"/>
                </a:solidFill>
                <a:latin typeface="+mn-lt"/>
                <a:ea typeface="+mn-ea"/>
                <a:cs typeface="+mn-cs"/>
                <a:sym typeface="+mn-lt"/>
              </a:rPr>
              <a:t>RAFT / PRE-DECISIONAL (FOIA Exemption 5 – Deliberative Process Privilege)</a:t>
            </a:r>
          </a:p>
        </p:txBody>
      </p:sp>
      <p:sp>
        <p:nvSpPr>
          <p:cNvPr id="18"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11083083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26" name="think-cell Slide" r:id="rId15" imgW="383" imgH="384" progId="TCLayout.ActiveDocument.1">
                  <p:embed/>
                </p:oleObj>
              </mc:Choice>
              <mc:Fallback>
                <p:oleObj name="think-cell Slide" r:id="rId15" imgW="383" imgH="384" progId="TCLayout.ActiveDocument.1">
                  <p:embed/>
                  <p:pic>
                    <p:nvPicPr>
                      <p:cNvPr id="2" name="Object 1" hidden="1"/>
                      <p:cNvPicPr/>
                      <p:nvPr/>
                    </p:nvPicPr>
                    <p:blipFill>
                      <a:blip r:embed="rId16"/>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1" y="0"/>
            <a:ext cx="158751" cy="158750"/>
          </a:xfrm>
          <a:prstGeom prst="rect">
            <a:avLst/>
          </a:prstGeom>
          <a:solidFill>
            <a:schemeClr val="tx2"/>
          </a:solidFill>
          <a:ln w="9525">
            <a:solidFill>
              <a:srgbClr val="17519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65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Rectangle 9"/>
          <p:cNvSpPr>
            <a:spLocks noChangeArrowheads="1"/>
          </p:cNvSpPr>
          <p:nvPr userDrawn="1"/>
        </p:nvSpPr>
        <p:spPr bwMode="auto">
          <a:xfrm>
            <a:off x="0" y="6500816"/>
            <a:ext cx="11887200" cy="371475"/>
          </a:xfrm>
          <a:prstGeom prst="rect">
            <a:avLst/>
          </a:prstGeom>
          <a:solidFill>
            <a:schemeClr val="tx2"/>
          </a:solidFill>
          <a:ln w="3175">
            <a:noFill/>
            <a:miter lim="800000"/>
            <a:headEnd/>
            <a:tailEnd/>
          </a:ln>
          <a:effectLst>
            <a:outerShdw dist="85194" dir="20006097" algn="ctr" rotWithShape="0">
              <a:srgbClr val="C0C0C0"/>
            </a:outerShdw>
          </a:effectLst>
        </p:spPr>
        <p:txBody>
          <a:bodyPr wrap="none" anchor="ctr"/>
          <a:lstStyle/>
          <a:p>
            <a:pPr>
              <a:defRPr/>
            </a:pPr>
            <a:endParaRPr lang="en-US" sz="1350">
              <a:solidFill>
                <a:srgbClr val="000000"/>
              </a:solidFill>
              <a:latin typeface="+mn-lt"/>
              <a:ea typeface="+mn-ea"/>
              <a:cs typeface="+mn-cs"/>
              <a:sym typeface="+mn-lt"/>
            </a:endParaRPr>
          </a:p>
        </p:txBody>
      </p:sp>
      <p:sp>
        <p:nvSpPr>
          <p:cNvPr id="8" name="Rectangle 11"/>
          <p:cNvSpPr>
            <a:spLocks noChangeArrowheads="1"/>
          </p:cNvSpPr>
          <p:nvPr/>
        </p:nvSpPr>
        <p:spPr bwMode="auto">
          <a:xfrm>
            <a:off x="2" y="0"/>
            <a:ext cx="10922209" cy="660400"/>
          </a:xfrm>
          <a:prstGeom prst="rect">
            <a:avLst/>
          </a:prstGeom>
          <a:solidFill>
            <a:srgbClr val="175191"/>
          </a:solidFill>
          <a:ln w="9525">
            <a:noFill/>
            <a:miter lim="800000"/>
            <a:headEnd/>
            <a:tailEnd/>
          </a:ln>
          <a:effectLst/>
        </p:spPr>
        <p:txBody>
          <a:bodyPr wrap="none" anchor="ctr"/>
          <a:lstStyle/>
          <a:p>
            <a:pPr>
              <a:defRPr/>
            </a:pPr>
            <a:endParaRPr lang="en-US" sz="1800">
              <a:solidFill>
                <a:srgbClr val="000000"/>
              </a:solidFill>
              <a:latin typeface="+mn-lt"/>
              <a:ea typeface="+mn-ea"/>
              <a:cs typeface="+mn-cs"/>
              <a:sym typeface="+mn-lt"/>
            </a:endParaRPr>
          </a:p>
        </p:txBody>
      </p:sp>
      <p:sp>
        <p:nvSpPr>
          <p:cNvPr id="6" name="Text Placeholder 5"/>
          <p:cNvSpPr>
            <a:spLocks noGrp="1"/>
          </p:cNvSpPr>
          <p:nvPr>
            <p:ph type="body" idx="1"/>
          </p:nvPr>
        </p:nvSpPr>
        <p:spPr>
          <a:xfrm>
            <a:off x="508000" y="1634855"/>
            <a:ext cx="11176000" cy="4267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6"/>
          <p:cNvSpPr>
            <a:spLocks noGrp="1"/>
          </p:cNvSpPr>
          <p:nvPr>
            <p:ph type="title"/>
          </p:nvPr>
        </p:nvSpPr>
        <p:spPr>
          <a:xfrm>
            <a:off x="3" y="-4469"/>
            <a:ext cx="10888133" cy="640080"/>
          </a:xfrm>
          <a:prstGeom prst="rect">
            <a:avLst/>
          </a:prstGeom>
        </p:spPr>
        <p:txBody>
          <a:bodyPr vert="horz" lIns="91440" tIns="45720" rIns="91440" bIns="45720" rtlCol="0" anchor="ctr">
            <a:normAutofit/>
          </a:bodyPr>
          <a:lstStyle/>
          <a:p>
            <a:r>
              <a:rPr lang="en-US"/>
              <a:t>Click to edit Master title style</a:t>
            </a:r>
          </a:p>
        </p:txBody>
      </p:sp>
      <p:sp>
        <p:nvSpPr>
          <p:cNvPr id="13" name="TextBox 12"/>
          <p:cNvSpPr txBox="1"/>
          <p:nvPr userDrawn="1"/>
        </p:nvSpPr>
        <p:spPr>
          <a:xfrm>
            <a:off x="11302996" y="6657633"/>
            <a:ext cx="381000" cy="86627"/>
          </a:xfrm>
          <a:prstGeom prst="rect">
            <a:avLst/>
          </a:prstGeom>
          <a:noFill/>
        </p:spPr>
        <p:txBody>
          <a:bodyPr wrap="square" lIns="0" tIns="0" rIns="0" bIns="0" rtlCol="0" anchor="b">
            <a:spAutoFit/>
          </a:bodyPr>
          <a:lstStyle/>
          <a:p>
            <a:pPr marL="0" marR="0" indent="0" algn="r" defTabSz="514350" rtl="0" eaLnBrk="1" fontAlgn="auto" latinLnBrk="0" hangingPunct="1">
              <a:lnSpc>
                <a:spcPct val="100000"/>
              </a:lnSpc>
              <a:spcBef>
                <a:spcPts val="0"/>
              </a:spcBef>
              <a:spcAft>
                <a:spcPts val="0"/>
              </a:spcAft>
              <a:buClrTx/>
              <a:buSzTx/>
              <a:buFontTx/>
              <a:buNone/>
              <a:tabLst/>
              <a:defRPr/>
            </a:pPr>
            <a:fld id="{DFCF27A5-1A5B-48D3-A060-2758FFBB1ADD}" type="slidenum">
              <a:rPr lang="en-US" sz="563" kern="1200" smtClean="0">
                <a:solidFill>
                  <a:schemeClr val="bg1"/>
                </a:solidFill>
                <a:latin typeface="+mn-lt"/>
                <a:ea typeface="+mn-ea"/>
                <a:cs typeface="+mn-cs"/>
                <a:sym typeface="+mn-lt"/>
              </a:rPr>
              <a:pPr marL="0" marR="0" indent="0" algn="r" defTabSz="514350" rtl="0" eaLnBrk="1" fontAlgn="auto" latinLnBrk="0" hangingPunct="1">
                <a:lnSpc>
                  <a:spcPct val="100000"/>
                </a:lnSpc>
                <a:spcBef>
                  <a:spcPts val="0"/>
                </a:spcBef>
                <a:spcAft>
                  <a:spcPts val="0"/>
                </a:spcAft>
                <a:buClrTx/>
                <a:buSzTx/>
                <a:buFontTx/>
                <a:buNone/>
                <a:tabLst/>
                <a:defRPr/>
              </a:pPr>
              <a:t>‹#›</a:t>
            </a:fld>
            <a:endParaRPr lang="en-US" sz="563" kern="1200">
              <a:solidFill>
                <a:schemeClr val="bg1"/>
              </a:solidFill>
              <a:latin typeface="+mn-lt"/>
              <a:ea typeface="+mn-ea"/>
              <a:cs typeface="+mn-cs"/>
              <a:sym typeface="+mn-lt"/>
            </a:endParaRPr>
          </a:p>
        </p:txBody>
      </p:sp>
      <p:pic>
        <p:nvPicPr>
          <p:cNvPr id="12" name="Picture 11"/>
          <p:cNvPicPr>
            <a:picLocks noChangeAspect="1"/>
          </p:cNvPicPr>
          <p:nvPr userDrawn="1"/>
        </p:nvPicPr>
        <p:blipFill rotWithShape="1">
          <a:blip r:embed="rId17"/>
          <a:srcRect l="7316" r="12810" b="8961"/>
          <a:stretch/>
        </p:blipFill>
        <p:spPr>
          <a:xfrm>
            <a:off x="11299528" y="110599"/>
            <a:ext cx="587672" cy="491461"/>
          </a:xfrm>
          <a:prstGeom prst="rect">
            <a:avLst/>
          </a:prstGeom>
        </p:spPr>
      </p:pic>
      <p:sp>
        <p:nvSpPr>
          <p:cNvPr id="15" name="Date Placeholder 3"/>
          <p:cNvSpPr>
            <a:spLocks noGrp="1"/>
          </p:cNvSpPr>
          <p:nvPr>
            <p:ph type="dt" sz="half" idx="2"/>
          </p:nvPr>
        </p:nvSpPr>
        <p:spPr>
          <a:xfrm>
            <a:off x="67183" y="6630786"/>
            <a:ext cx="1737360" cy="138499"/>
          </a:xfrm>
          <a:prstGeom prst="rect">
            <a:avLst/>
          </a:prstGeom>
        </p:spPr>
        <p:txBody>
          <a:bodyPr vert="horz" wrap="square" lIns="0" tIns="0" rIns="0" bIns="0" rtlCol="0" anchor="b">
            <a:spAutoFit/>
          </a:bodyPr>
          <a:lstStyle>
            <a:lvl1pPr algn="ctr">
              <a:defRPr sz="900" i="1">
                <a:solidFill>
                  <a:srgbClr val="FFFFFF"/>
                </a:solidFill>
                <a:latin typeface="+mn-lt"/>
                <a:ea typeface="+mn-ea"/>
                <a:cs typeface="+mn-cs"/>
                <a:sym typeface="+mn-lt"/>
              </a:defRPr>
            </a:lvl1pPr>
          </a:lstStyle>
          <a:p>
            <a:endParaRPr lang="en-US"/>
          </a:p>
        </p:txBody>
      </p:sp>
    </p:spTree>
    <p:extLst>
      <p:ext uri="{BB962C8B-B14F-4D97-AF65-F5344CB8AC3E}">
        <p14:creationId xmlns:p14="http://schemas.microsoft.com/office/powerpoint/2010/main" val="264262963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Lst>
  <p:hf hdr="0" dt="0"/>
  <p:txStyles>
    <p:titleStyle>
      <a:lvl1pPr algn="l" rtl="0" eaLnBrk="1" fontAlgn="base" hangingPunct="1">
        <a:spcBef>
          <a:spcPct val="0"/>
        </a:spcBef>
        <a:spcAft>
          <a:spcPct val="0"/>
        </a:spcAft>
        <a:defRPr sz="1650" b="1">
          <a:solidFill>
            <a:schemeClr val="bg1"/>
          </a:solidFill>
          <a:latin typeface="+mj-lt"/>
          <a:ea typeface="+mj-ea"/>
          <a:cs typeface="+mj-cs"/>
          <a:sym typeface="+mj-lt"/>
        </a:defRPr>
      </a:lvl1pPr>
      <a:lvl2pPr algn="ctr" rtl="0" eaLnBrk="1" fontAlgn="base" hangingPunct="1">
        <a:spcBef>
          <a:spcPct val="0"/>
        </a:spcBef>
        <a:spcAft>
          <a:spcPct val="0"/>
        </a:spcAft>
        <a:defRPr sz="3300">
          <a:solidFill>
            <a:schemeClr val="tx2"/>
          </a:solidFill>
          <a:latin typeface="Arial" charset="0"/>
        </a:defRPr>
      </a:lvl2pPr>
      <a:lvl3pPr algn="ctr" rtl="0" eaLnBrk="1" fontAlgn="base" hangingPunct="1">
        <a:spcBef>
          <a:spcPct val="0"/>
        </a:spcBef>
        <a:spcAft>
          <a:spcPct val="0"/>
        </a:spcAft>
        <a:defRPr sz="3300">
          <a:solidFill>
            <a:schemeClr val="tx2"/>
          </a:solidFill>
          <a:latin typeface="Arial" charset="0"/>
        </a:defRPr>
      </a:lvl3pPr>
      <a:lvl4pPr algn="ctr" rtl="0" eaLnBrk="1" fontAlgn="base" hangingPunct="1">
        <a:spcBef>
          <a:spcPct val="0"/>
        </a:spcBef>
        <a:spcAft>
          <a:spcPct val="0"/>
        </a:spcAft>
        <a:defRPr sz="3300">
          <a:solidFill>
            <a:schemeClr val="tx2"/>
          </a:solidFill>
          <a:latin typeface="Arial" charset="0"/>
        </a:defRPr>
      </a:lvl4pPr>
      <a:lvl5pPr algn="ctr" rtl="0" eaLnBrk="1" fontAlgn="base" hangingPunct="1">
        <a:spcBef>
          <a:spcPct val="0"/>
        </a:spcBef>
        <a:spcAft>
          <a:spcPct val="0"/>
        </a:spcAft>
        <a:defRPr sz="3300">
          <a:solidFill>
            <a:schemeClr val="tx2"/>
          </a:solidFill>
          <a:latin typeface="Arial" charset="0"/>
        </a:defRPr>
      </a:lvl5pPr>
      <a:lvl6pPr marL="342900" algn="ctr" rtl="0" eaLnBrk="1" fontAlgn="base" hangingPunct="1">
        <a:spcBef>
          <a:spcPct val="0"/>
        </a:spcBef>
        <a:spcAft>
          <a:spcPct val="0"/>
        </a:spcAft>
        <a:defRPr sz="3300">
          <a:solidFill>
            <a:schemeClr val="tx2"/>
          </a:solidFill>
          <a:latin typeface="Arial" charset="0"/>
        </a:defRPr>
      </a:lvl6pPr>
      <a:lvl7pPr marL="685800" algn="ctr" rtl="0" eaLnBrk="1" fontAlgn="base" hangingPunct="1">
        <a:spcBef>
          <a:spcPct val="0"/>
        </a:spcBef>
        <a:spcAft>
          <a:spcPct val="0"/>
        </a:spcAft>
        <a:defRPr sz="3300">
          <a:solidFill>
            <a:schemeClr val="tx2"/>
          </a:solidFill>
          <a:latin typeface="Arial" charset="0"/>
        </a:defRPr>
      </a:lvl7pPr>
      <a:lvl8pPr marL="1028700" algn="ctr" rtl="0" eaLnBrk="1" fontAlgn="base" hangingPunct="1">
        <a:spcBef>
          <a:spcPct val="0"/>
        </a:spcBef>
        <a:spcAft>
          <a:spcPct val="0"/>
        </a:spcAft>
        <a:defRPr sz="3300">
          <a:solidFill>
            <a:schemeClr val="tx2"/>
          </a:solidFill>
          <a:latin typeface="Arial" charset="0"/>
        </a:defRPr>
      </a:lvl8pPr>
      <a:lvl9pPr marL="1371600" algn="ctr" rtl="0" eaLnBrk="1" fontAlgn="base" hangingPunct="1">
        <a:spcBef>
          <a:spcPct val="0"/>
        </a:spcBef>
        <a:spcAft>
          <a:spcPct val="0"/>
        </a:spcAft>
        <a:defRPr sz="3300">
          <a:solidFill>
            <a:schemeClr val="tx2"/>
          </a:solidFill>
          <a:latin typeface="Arial" charset="0"/>
        </a:defRPr>
      </a:lvl9pPr>
    </p:titleStyle>
    <p:bodyStyle>
      <a:lvl1pPr marL="0" marR="0" indent="0" algn="l" defTabSz="685800" rtl="0" eaLnBrk="1" fontAlgn="base" latinLnBrk="0" hangingPunct="1">
        <a:lnSpc>
          <a:spcPct val="100000"/>
        </a:lnSpc>
        <a:spcBef>
          <a:spcPts val="1650"/>
        </a:spcBef>
        <a:spcAft>
          <a:spcPct val="0"/>
        </a:spcAft>
        <a:buClrTx/>
        <a:buSzTx/>
        <a:buFont typeface="Arial" pitchFamily="34" charset="0"/>
        <a:buNone/>
        <a:tabLst/>
        <a:defRPr lang="en-US" sz="1050" b="1" i="0" kern="1200" baseline="0">
          <a:solidFill>
            <a:schemeClr val="tx1"/>
          </a:solidFill>
          <a:latin typeface="+mn-lt"/>
          <a:ea typeface="+mn-ea"/>
          <a:cs typeface="+mn-cs"/>
          <a:sym typeface="+mn-lt"/>
        </a:defRPr>
      </a:lvl1pPr>
      <a:lvl2pPr marL="130969" marR="0" indent="-130969" algn="l" defTabSz="685800" rtl="0" eaLnBrk="1" fontAlgn="base" latinLnBrk="0" hangingPunct="1">
        <a:lnSpc>
          <a:spcPct val="100000"/>
        </a:lnSpc>
        <a:spcBef>
          <a:spcPts val="300"/>
        </a:spcBef>
        <a:spcAft>
          <a:spcPct val="0"/>
        </a:spcAft>
        <a:buClrTx/>
        <a:buSzTx/>
        <a:buFont typeface="Arial" pitchFamily="34" charset="0"/>
        <a:buChar char="•"/>
        <a:tabLst/>
        <a:defRPr lang="en-US" sz="900" b="1" kern="1200" baseline="0">
          <a:solidFill>
            <a:schemeClr val="tx1"/>
          </a:solidFill>
          <a:latin typeface="+mn-lt"/>
          <a:ea typeface="+mn-ea"/>
          <a:cs typeface="+mn-cs"/>
          <a:sym typeface="+mn-lt"/>
        </a:defRPr>
      </a:lvl2pPr>
      <a:lvl3pPr marL="255985" marR="0" indent="-128588" algn="l" defTabSz="685800" rtl="0" eaLnBrk="1" fontAlgn="base" latinLnBrk="0" hangingPunct="1">
        <a:lnSpc>
          <a:spcPct val="100000"/>
        </a:lnSpc>
        <a:spcBef>
          <a:spcPts val="300"/>
        </a:spcBef>
        <a:spcAft>
          <a:spcPct val="0"/>
        </a:spcAft>
        <a:buClrTx/>
        <a:buSzTx/>
        <a:buFont typeface="Arial" pitchFamily="34" charset="0"/>
        <a:buChar char="–"/>
        <a:tabLst/>
        <a:defRPr lang="en-US" sz="750" kern="1200" baseline="0">
          <a:solidFill>
            <a:schemeClr val="tx1"/>
          </a:solidFill>
          <a:latin typeface="+mn-lt"/>
          <a:ea typeface="+mn-ea"/>
          <a:cs typeface="+mn-cs"/>
          <a:sym typeface="+mn-lt"/>
        </a:defRPr>
      </a:lvl3pPr>
      <a:lvl4pPr marL="386954" marR="0" indent="-130969" algn="l" defTabSz="685800" rtl="0" eaLnBrk="1" fontAlgn="base" latinLnBrk="0" hangingPunct="1">
        <a:lnSpc>
          <a:spcPct val="100000"/>
        </a:lnSpc>
        <a:spcBef>
          <a:spcPts val="300"/>
        </a:spcBef>
        <a:spcAft>
          <a:spcPct val="0"/>
        </a:spcAft>
        <a:buClrTx/>
        <a:buSzTx/>
        <a:buFont typeface="Arial" pitchFamily="34" charset="0"/>
        <a:buChar char="•"/>
        <a:tabLst/>
        <a:defRPr sz="1200" baseline="0">
          <a:solidFill>
            <a:schemeClr val="tx1"/>
          </a:solidFill>
          <a:latin typeface="+mn-lt"/>
          <a:ea typeface="+mn-ea"/>
          <a:cs typeface="+mn-cs"/>
          <a:sym typeface="+mn-lt"/>
        </a:defRPr>
      </a:lvl4pPr>
      <a:lvl5pPr marL="516731" marR="0" indent="-129779" algn="l" defTabSz="685800" rtl="0" eaLnBrk="1" fontAlgn="base" latinLnBrk="0" hangingPunct="1">
        <a:lnSpc>
          <a:spcPct val="100000"/>
        </a:lnSpc>
        <a:spcBef>
          <a:spcPts val="300"/>
        </a:spcBef>
        <a:spcAft>
          <a:spcPct val="0"/>
        </a:spcAft>
        <a:buClrTx/>
        <a:buSzTx/>
        <a:buFont typeface="Arial" pitchFamily="34" charset="0"/>
        <a:buChar char="–"/>
        <a:tabLst/>
        <a:defRPr sz="1200" baseline="0">
          <a:solidFill>
            <a:schemeClr val="tx1"/>
          </a:solidFill>
          <a:latin typeface="+mn-lt"/>
          <a:ea typeface="+mn-ea"/>
          <a:cs typeface="+mn-cs"/>
          <a:sym typeface="+mn-lt"/>
        </a:defRPr>
      </a:lvl5pPr>
      <a:lvl6pPr marL="1885950" indent="-171450" algn="l" rtl="0" eaLnBrk="1" fontAlgn="base" hangingPunct="1">
        <a:spcBef>
          <a:spcPct val="20000"/>
        </a:spcBef>
        <a:spcAft>
          <a:spcPct val="0"/>
        </a:spcAft>
        <a:buChar char="»"/>
        <a:defRPr sz="1500">
          <a:solidFill>
            <a:schemeClr val="tx1"/>
          </a:solidFill>
          <a:latin typeface="+mn-lt"/>
        </a:defRPr>
      </a:lvl6pPr>
      <a:lvl7pPr marL="2228850" indent="-171450" algn="l" rtl="0" eaLnBrk="1" fontAlgn="base" hangingPunct="1">
        <a:spcBef>
          <a:spcPct val="20000"/>
        </a:spcBef>
        <a:spcAft>
          <a:spcPct val="0"/>
        </a:spcAft>
        <a:buChar char="»"/>
        <a:defRPr sz="1500">
          <a:solidFill>
            <a:schemeClr val="tx1"/>
          </a:solidFill>
          <a:latin typeface="+mn-lt"/>
        </a:defRPr>
      </a:lvl7pPr>
      <a:lvl8pPr marL="2571750" indent="-171450" algn="l" rtl="0" eaLnBrk="1" fontAlgn="base" hangingPunct="1">
        <a:spcBef>
          <a:spcPct val="20000"/>
        </a:spcBef>
        <a:spcAft>
          <a:spcPct val="0"/>
        </a:spcAft>
        <a:buChar char="»"/>
        <a:defRPr sz="1500">
          <a:solidFill>
            <a:schemeClr val="tx1"/>
          </a:solidFill>
          <a:latin typeface="+mn-lt"/>
        </a:defRPr>
      </a:lvl8pPr>
      <a:lvl9pPr marL="2914650" indent="-171450" algn="l" rtl="0" eaLnBrk="1" fontAlgn="base" hangingPunct="1">
        <a:spcBef>
          <a:spcPct val="20000"/>
        </a:spcBef>
        <a:spcAft>
          <a:spcPct val="0"/>
        </a:spcAft>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13" name="Google Shape;19;p4">
            <a:extLst>
              <a:ext uri="{FF2B5EF4-FFF2-40B4-BE49-F238E27FC236}">
                <a16:creationId xmlns:a16="http://schemas.microsoft.com/office/drawing/2014/main" id="{1D0CEFF9-F890-448C-85EB-5DAE9155EC01}"/>
              </a:ext>
            </a:extLst>
          </p:cNvPr>
          <p:cNvSpPr txBox="1">
            <a:spLocks noGrp="1"/>
          </p:cNvSpPr>
          <p:nvPr>
            <p:ph type="sldNum" idx="4"/>
          </p:nvPr>
        </p:nvSpPr>
        <p:spPr>
          <a:xfrm>
            <a:off x="10845048" y="6222434"/>
            <a:ext cx="731600" cy="524700"/>
          </a:xfrm>
          <a:prstGeom prst="rect">
            <a:avLst/>
          </a:prstGeom>
        </p:spPr>
        <p:txBody>
          <a:bodyPr spcFirstLastPara="1" wrap="square" lIns="91425" tIns="91425" rIns="91425" bIns="91425" anchor="b" anchorCtr="0">
            <a:noAutofit/>
          </a:bodyPr>
          <a:lstStyle>
            <a:lvl1pPr lvl="0" algn="r">
              <a:buNone/>
              <a:defRPr sz="1200" b="1">
                <a:solidFill>
                  <a:srgbClr val="005087"/>
                </a:solidFill>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16" name="Picture 15">
            <a:extLst>
              <a:ext uri="{FF2B5EF4-FFF2-40B4-BE49-F238E27FC236}">
                <a16:creationId xmlns:a16="http://schemas.microsoft.com/office/drawing/2014/main" id="{B7DC5220-5B37-4686-8E3F-E46EC0E3995E}"/>
              </a:ext>
            </a:extLst>
          </p:cNvPr>
          <p:cNvPicPr>
            <a:picLocks noChangeAspect="1"/>
          </p:cNvPicPr>
          <p:nvPr userDrawn="1"/>
        </p:nvPicPr>
        <p:blipFill rotWithShape="1">
          <a:blip r:embed="rId9"/>
          <a:srcRect l="7767" t="12415" r="7486" b="14573"/>
          <a:stretch/>
        </p:blipFill>
        <p:spPr>
          <a:xfrm>
            <a:off x="615352" y="6220195"/>
            <a:ext cx="1015040" cy="526939"/>
          </a:xfrm>
          <a:prstGeom prst="rect">
            <a:avLst/>
          </a:prstGeom>
        </p:spPr>
      </p:pic>
      <p:sp>
        <p:nvSpPr>
          <p:cNvPr id="3" name="Title Placeholder 2">
            <a:extLst>
              <a:ext uri="{FF2B5EF4-FFF2-40B4-BE49-F238E27FC236}">
                <a16:creationId xmlns:a16="http://schemas.microsoft.com/office/drawing/2014/main" id="{47EA1CBB-C8F8-4600-A89D-A5A7FF3753F7}"/>
              </a:ext>
            </a:extLst>
          </p:cNvPr>
          <p:cNvSpPr>
            <a:spLocks noGrp="1"/>
          </p:cNvSpPr>
          <p:nvPr>
            <p:ph type="title"/>
          </p:nvPr>
        </p:nvSpPr>
        <p:spPr>
          <a:xfrm>
            <a:off x="640424" y="416884"/>
            <a:ext cx="10936224" cy="859536"/>
          </a:xfrm>
          <a:prstGeom prst="rect">
            <a:avLst/>
          </a:prstGeom>
        </p:spPr>
        <p:txBody>
          <a:bodyPr vert="horz" lIns="91440" tIns="45720" rIns="91440" bIns="45720" rtlCol="0" anchor="ctr">
            <a:normAutofit/>
          </a:bodyPr>
          <a:lstStyle/>
          <a:p>
            <a:r>
              <a:rPr lang="en-US"/>
              <a:t>Click to edit Master title style</a:t>
            </a:r>
          </a:p>
        </p:txBody>
      </p:sp>
      <p:sp>
        <p:nvSpPr>
          <p:cNvPr id="4" name="Footer Placeholder 3">
            <a:extLst>
              <a:ext uri="{FF2B5EF4-FFF2-40B4-BE49-F238E27FC236}">
                <a16:creationId xmlns:a16="http://schemas.microsoft.com/office/drawing/2014/main" id="{634DB5B9-1E6F-430F-A1AF-7C91F21ADD2B}"/>
              </a:ext>
            </a:extLst>
          </p:cNvPr>
          <p:cNvSpPr>
            <a:spLocks noGrp="1"/>
          </p:cNvSpPr>
          <p:nvPr>
            <p:ph type="ftr" sz="quarter" idx="3"/>
          </p:nvPr>
        </p:nvSpPr>
        <p:spPr>
          <a:xfrm>
            <a:off x="8077200" y="76362"/>
            <a:ext cx="3499448" cy="254259"/>
          </a:xfrm>
          <a:prstGeom prst="rect">
            <a:avLst/>
          </a:prstGeom>
        </p:spPr>
        <p:txBody>
          <a:bodyPr vert="horz" lIns="91440" tIns="45720" rIns="91440" bIns="45720" rtlCol="0" anchor="ctr"/>
          <a:lstStyle>
            <a:lvl1pPr algn="r">
              <a:defRPr sz="1000" i="1">
                <a:solidFill>
                  <a:srgbClr val="005087"/>
                </a:solidFill>
              </a:defRPr>
            </a:lvl1pPr>
          </a:lstStyle>
          <a:p>
            <a:r>
              <a:rPr lang="en-US"/>
              <a:t>Deliverable title</a:t>
            </a:r>
          </a:p>
        </p:txBody>
      </p:sp>
      <p:sp>
        <p:nvSpPr>
          <p:cNvPr id="14" name="Text Placeholder 13">
            <a:extLst>
              <a:ext uri="{FF2B5EF4-FFF2-40B4-BE49-F238E27FC236}">
                <a16:creationId xmlns:a16="http://schemas.microsoft.com/office/drawing/2014/main" id="{21FE3A40-42FD-498F-8BE5-5F97FB7DBB02}"/>
              </a:ext>
            </a:extLst>
          </p:cNvPr>
          <p:cNvSpPr>
            <a:spLocks noGrp="1"/>
          </p:cNvSpPr>
          <p:nvPr>
            <p:ph type="body" idx="1"/>
          </p:nvPr>
        </p:nvSpPr>
        <p:spPr>
          <a:xfrm>
            <a:off x="640424" y="1587260"/>
            <a:ext cx="10896276" cy="43442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6400516"/>
      </p:ext>
    </p:extLst>
  </p:cSld>
  <p:clrMap bg1="lt1" tx1="dk1" bg2="dk2" tx2="lt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000" b="0" i="0" u="none" strike="noStrike" cap="none">
          <a:solidFill>
            <a:srgbClr val="015089"/>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228600" marR="0" lvl="0"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400" b="0" i="0" u="none" strike="noStrike" cap="none">
          <a:solidFill>
            <a:schemeClr val="tx1"/>
          </a:solidFill>
          <a:latin typeface="Arial"/>
          <a:ea typeface="Arial"/>
          <a:cs typeface="Arial"/>
          <a:sym typeface="Arial"/>
        </a:defRPr>
      </a:lvl1pPr>
      <a:lvl2pPr marL="685800" marR="0" lvl="1"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200" b="0" i="0" u="none" strike="noStrike" cap="none">
          <a:solidFill>
            <a:schemeClr val="tx1"/>
          </a:solidFill>
          <a:latin typeface="Arial"/>
          <a:ea typeface="Arial"/>
          <a:cs typeface="Arial"/>
          <a:sym typeface="Arial"/>
        </a:defRPr>
      </a:lvl2pPr>
      <a:lvl3pPr marL="1143000" marR="0" lvl="2"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200" b="0" i="0" u="none" strike="noStrike" cap="none">
          <a:solidFill>
            <a:schemeClr val="tx1"/>
          </a:solidFill>
          <a:latin typeface="Arial"/>
          <a:ea typeface="Arial"/>
          <a:cs typeface="Arial"/>
          <a:sym typeface="Arial"/>
        </a:defRPr>
      </a:lvl3pPr>
      <a:lvl4pPr marL="1600200" marR="0" lvl="3"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200" b="0" i="0" u="none" strike="noStrike" cap="none">
          <a:solidFill>
            <a:schemeClr val="tx1"/>
          </a:solidFill>
          <a:latin typeface="Arial"/>
          <a:ea typeface="Arial"/>
          <a:cs typeface="Arial"/>
          <a:sym typeface="Arial"/>
        </a:defRPr>
      </a:lvl4pPr>
      <a:lvl5pPr marL="2057400" marR="0" lvl="4"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2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416" y="257473"/>
            <a:ext cx="7711485" cy="1071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28416" y="1500188"/>
            <a:ext cx="7711485" cy="42430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28416" y="5959078"/>
            <a:ext cx="1999274" cy="342305"/>
          </a:xfrm>
          <a:prstGeom prst="rect">
            <a:avLst/>
          </a:prstGeom>
        </p:spPr>
        <p:txBody>
          <a:bodyPr vert="horz" lIns="91440" tIns="45720" rIns="91440" bIns="45720" rtlCol="0" anchor="ctr"/>
          <a:lstStyle>
            <a:lvl1pPr algn="l">
              <a:defRPr sz="1124">
                <a:solidFill>
                  <a:schemeClr val="tx1">
                    <a:tint val="75000"/>
                  </a:schemeClr>
                </a:solidFill>
              </a:defRPr>
            </a:lvl1pPr>
          </a:lstStyle>
          <a:p>
            <a:fld id="{20532436-246E-C341-8F9A-0B4F34C07184}" type="datetimeFigureOut">
              <a:rPr lang="en-US" smtClean="0"/>
              <a:pPr/>
              <a:t>6/27/2022</a:t>
            </a:fld>
            <a:endParaRPr lang="en-US"/>
          </a:p>
        </p:txBody>
      </p:sp>
      <p:sp>
        <p:nvSpPr>
          <p:cNvPr id="5" name="Footer Placeholder 4"/>
          <p:cNvSpPr>
            <a:spLocks noGrp="1"/>
          </p:cNvSpPr>
          <p:nvPr>
            <p:ph type="ftr" sz="quarter" idx="3"/>
          </p:nvPr>
        </p:nvSpPr>
        <p:spPr>
          <a:xfrm>
            <a:off x="2927508" y="5959078"/>
            <a:ext cx="2713300" cy="342305"/>
          </a:xfrm>
          <a:prstGeom prst="rect">
            <a:avLst/>
          </a:prstGeom>
        </p:spPr>
        <p:txBody>
          <a:bodyPr vert="horz" lIns="91440" tIns="45720" rIns="91440" bIns="45720" rtlCol="0" anchor="ctr"/>
          <a:lstStyle>
            <a:lvl1pPr algn="ctr">
              <a:defRPr sz="11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140627" y="5959078"/>
            <a:ext cx="1999274" cy="342305"/>
          </a:xfrm>
          <a:prstGeom prst="rect">
            <a:avLst/>
          </a:prstGeom>
        </p:spPr>
        <p:txBody>
          <a:bodyPr vert="horz" lIns="91440" tIns="45720" rIns="91440" bIns="45720" rtlCol="0" anchor="ctr"/>
          <a:lstStyle>
            <a:lvl1pPr algn="r">
              <a:defRPr sz="1124">
                <a:solidFill>
                  <a:schemeClr val="tx1">
                    <a:tint val="75000"/>
                  </a:schemeClr>
                </a:solidFill>
              </a:defRPr>
            </a:lvl1pPr>
          </a:lstStyle>
          <a:p>
            <a:fld id="{DF6943E6-0357-1B40-8726-50F09ABBA837}" type="slidenum">
              <a:rPr lang="en-US" smtClean="0"/>
              <a:pPr/>
              <a:t>‹#›</a:t>
            </a:fld>
            <a:endParaRPr lang="en-US"/>
          </a:p>
        </p:txBody>
      </p:sp>
    </p:spTree>
    <p:extLst>
      <p:ext uri="{BB962C8B-B14F-4D97-AF65-F5344CB8AC3E}">
        <p14:creationId xmlns:p14="http://schemas.microsoft.com/office/powerpoint/2010/main" val="3593864291"/>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txStyles>
    <p:titleStyle>
      <a:lvl1pPr algn="ctr" defTabSz="428396" rtl="0" eaLnBrk="1" latinLnBrk="0" hangingPunct="1">
        <a:spcBef>
          <a:spcPct val="0"/>
        </a:spcBef>
        <a:buNone/>
        <a:defRPr sz="4123" kern="1200">
          <a:solidFill>
            <a:schemeClr val="tx1"/>
          </a:solidFill>
          <a:latin typeface="+mj-lt"/>
          <a:ea typeface="+mj-ea"/>
          <a:cs typeface="+mj-cs"/>
        </a:defRPr>
      </a:lvl1pPr>
    </p:titleStyle>
    <p:bodyStyle>
      <a:lvl1pPr marL="321297" indent="-321297" algn="l" defTabSz="428396" rtl="0" eaLnBrk="1" latinLnBrk="0" hangingPunct="1">
        <a:spcBef>
          <a:spcPct val="20000"/>
        </a:spcBef>
        <a:buFont typeface="Arial"/>
        <a:buChar char="•"/>
        <a:defRPr sz="2998" kern="1200">
          <a:solidFill>
            <a:schemeClr val="tx1"/>
          </a:solidFill>
          <a:latin typeface="+mn-lt"/>
          <a:ea typeface="+mn-ea"/>
          <a:cs typeface="+mn-cs"/>
        </a:defRPr>
      </a:lvl1pPr>
      <a:lvl2pPr marL="696144" indent="-267748" algn="l" defTabSz="428396" rtl="0" eaLnBrk="1" latinLnBrk="0" hangingPunct="1">
        <a:spcBef>
          <a:spcPct val="20000"/>
        </a:spcBef>
        <a:buFont typeface="Arial"/>
        <a:buChar char="–"/>
        <a:defRPr sz="2624" kern="1200">
          <a:solidFill>
            <a:schemeClr val="tx1"/>
          </a:solidFill>
          <a:latin typeface="+mn-lt"/>
          <a:ea typeface="+mn-ea"/>
          <a:cs typeface="+mn-cs"/>
        </a:defRPr>
      </a:lvl2pPr>
      <a:lvl3pPr marL="1070991" indent="-214198" algn="l" defTabSz="428396" rtl="0" eaLnBrk="1" latinLnBrk="0" hangingPunct="1">
        <a:spcBef>
          <a:spcPct val="20000"/>
        </a:spcBef>
        <a:buFont typeface="Arial"/>
        <a:buChar char="•"/>
        <a:defRPr sz="2249" kern="1200">
          <a:solidFill>
            <a:schemeClr val="tx1"/>
          </a:solidFill>
          <a:latin typeface="+mn-lt"/>
          <a:ea typeface="+mn-ea"/>
          <a:cs typeface="+mn-cs"/>
        </a:defRPr>
      </a:lvl3pPr>
      <a:lvl4pPr marL="1499387" indent="-214198" algn="l" defTabSz="428396" rtl="0" eaLnBrk="1" latinLnBrk="0" hangingPunct="1">
        <a:spcBef>
          <a:spcPct val="20000"/>
        </a:spcBef>
        <a:buFont typeface="Arial"/>
        <a:buChar char="–"/>
        <a:defRPr sz="1874" kern="1200">
          <a:solidFill>
            <a:schemeClr val="tx1"/>
          </a:solidFill>
          <a:latin typeface="+mn-lt"/>
          <a:ea typeface="+mn-ea"/>
          <a:cs typeface="+mn-cs"/>
        </a:defRPr>
      </a:lvl4pPr>
      <a:lvl5pPr marL="1927784" indent="-214198" algn="l" defTabSz="428396" rtl="0" eaLnBrk="1" latinLnBrk="0" hangingPunct="1">
        <a:spcBef>
          <a:spcPct val="20000"/>
        </a:spcBef>
        <a:buFont typeface="Arial"/>
        <a:buChar char="»"/>
        <a:defRPr sz="1874" kern="1200">
          <a:solidFill>
            <a:schemeClr val="tx1"/>
          </a:solidFill>
          <a:latin typeface="+mn-lt"/>
          <a:ea typeface="+mn-ea"/>
          <a:cs typeface="+mn-cs"/>
        </a:defRPr>
      </a:lvl5pPr>
      <a:lvl6pPr marL="2356180" indent="-214198" algn="l" defTabSz="428396" rtl="0" eaLnBrk="1" latinLnBrk="0" hangingPunct="1">
        <a:spcBef>
          <a:spcPct val="20000"/>
        </a:spcBef>
        <a:buFont typeface="Arial"/>
        <a:buChar char="•"/>
        <a:defRPr sz="1874" kern="1200">
          <a:solidFill>
            <a:schemeClr val="tx1"/>
          </a:solidFill>
          <a:latin typeface="+mn-lt"/>
          <a:ea typeface="+mn-ea"/>
          <a:cs typeface="+mn-cs"/>
        </a:defRPr>
      </a:lvl6pPr>
      <a:lvl7pPr marL="2784577" indent="-214198" algn="l" defTabSz="428396" rtl="0" eaLnBrk="1" latinLnBrk="0" hangingPunct="1">
        <a:spcBef>
          <a:spcPct val="20000"/>
        </a:spcBef>
        <a:buFont typeface="Arial"/>
        <a:buChar char="•"/>
        <a:defRPr sz="1874" kern="1200">
          <a:solidFill>
            <a:schemeClr val="tx1"/>
          </a:solidFill>
          <a:latin typeface="+mn-lt"/>
          <a:ea typeface="+mn-ea"/>
          <a:cs typeface="+mn-cs"/>
        </a:defRPr>
      </a:lvl7pPr>
      <a:lvl8pPr marL="3212973" indent="-214198" algn="l" defTabSz="428396" rtl="0" eaLnBrk="1" latinLnBrk="0" hangingPunct="1">
        <a:spcBef>
          <a:spcPct val="20000"/>
        </a:spcBef>
        <a:buFont typeface="Arial"/>
        <a:buChar char="•"/>
        <a:defRPr sz="1874" kern="1200">
          <a:solidFill>
            <a:schemeClr val="tx1"/>
          </a:solidFill>
          <a:latin typeface="+mn-lt"/>
          <a:ea typeface="+mn-ea"/>
          <a:cs typeface="+mn-cs"/>
        </a:defRPr>
      </a:lvl8pPr>
      <a:lvl9pPr marL="3641369" indent="-214198" algn="l" defTabSz="428396" rtl="0" eaLnBrk="1" latinLnBrk="0" hangingPunct="1">
        <a:spcBef>
          <a:spcPct val="20000"/>
        </a:spcBef>
        <a:buFont typeface="Arial"/>
        <a:buChar char="•"/>
        <a:defRPr sz="1874" kern="1200">
          <a:solidFill>
            <a:schemeClr val="tx1"/>
          </a:solidFill>
          <a:latin typeface="+mn-lt"/>
          <a:ea typeface="+mn-ea"/>
          <a:cs typeface="+mn-cs"/>
        </a:defRPr>
      </a:lvl9pPr>
    </p:bodyStyle>
    <p:otherStyle>
      <a:defPPr>
        <a:defRPr lang="en-US"/>
      </a:defPPr>
      <a:lvl1pPr marL="0" algn="l" defTabSz="428396" rtl="0" eaLnBrk="1" latinLnBrk="0" hangingPunct="1">
        <a:defRPr sz="1687" kern="1200">
          <a:solidFill>
            <a:schemeClr val="tx1"/>
          </a:solidFill>
          <a:latin typeface="+mn-lt"/>
          <a:ea typeface="+mn-ea"/>
          <a:cs typeface="+mn-cs"/>
        </a:defRPr>
      </a:lvl1pPr>
      <a:lvl2pPr marL="428396" algn="l" defTabSz="428396" rtl="0" eaLnBrk="1" latinLnBrk="0" hangingPunct="1">
        <a:defRPr sz="1687" kern="1200">
          <a:solidFill>
            <a:schemeClr val="tx1"/>
          </a:solidFill>
          <a:latin typeface="+mn-lt"/>
          <a:ea typeface="+mn-ea"/>
          <a:cs typeface="+mn-cs"/>
        </a:defRPr>
      </a:lvl2pPr>
      <a:lvl3pPr marL="856793" algn="l" defTabSz="428396" rtl="0" eaLnBrk="1" latinLnBrk="0" hangingPunct="1">
        <a:defRPr sz="1687" kern="1200">
          <a:solidFill>
            <a:schemeClr val="tx1"/>
          </a:solidFill>
          <a:latin typeface="+mn-lt"/>
          <a:ea typeface="+mn-ea"/>
          <a:cs typeface="+mn-cs"/>
        </a:defRPr>
      </a:lvl3pPr>
      <a:lvl4pPr marL="1285189" algn="l" defTabSz="428396" rtl="0" eaLnBrk="1" latinLnBrk="0" hangingPunct="1">
        <a:defRPr sz="1687" kern="1200">
          <a:solidFill>
            <a:schemeClr val="tx1"/>
          </a:solidFill>
          <a:latin typeface="+mn-lt"/>
          <a:ea typeface="+mn-ea"/>
          <a:cs typeface="+mn-cs"/>
        </a:defRPr>
      </a:lvl4pPr>
      <a:lvl5pPr marL="1713586" algn="l" defTabSz="428396" rtl="0" eaLnBrk="1" latinLnBrk="0" hangingPunct="1">
        <a:defRPr sz="1687" kern="1200">
          <a:solidFill>
            <a:schemeClr val="tx1"/>
          </a:solidFill>
          <a:latin typeface="+mn-lt"/>
          <a:ea typeface="+mn-ea"/>
          <a:cs typeface="+mn-cs"/>
        </a:defRPr>
      </a:lvl5pPr>
      <a:lvl6pPr marL="2141982" algn="l" defTabSz="428396" rtl="0" eaLnBrk="1" latinLnBrk="0" hangingPunct="1">
        <a:defRPr sz="1687" kern="1200">
          <a:solidFill>
            <a:schemeClr val="tx1"/>
          </a:solidFill>
          <a:latin typeface="+mn-lt"/>
          <a:ea typeface="+mn-ea"/>
          <a:cs typeface="+mn-cs"/>
        </a:defRPr>
      </a:lvl6pPr>
      <a:lvl7pPr marL="2570378" algn="l" defTabSz="428396" rtl="0" eaLnBrk="1" latinLnBrk="0" hangingPunct="1">
        <a:defRPr sz="1687" kern="1200">
          <a:solidFill>
            <a:schemeClr val="tx1"/>
          </a:solidFill>
          <a:latin typeface="+mn-lt"/>
          <a:ea typeface="+mn-ea"/>
          <a:cs typeface="+mn-cs"/>
        </a:defRPr>
      </a:lvl7pPr>
      <a:lvl8pPr marL="2998775" algn="l" defTabSz="428396" rtl="0" eaLnBrk="1" latinLnBrk="0" hangingPunct="1">
        <a:defRPr sz="1687" kern="1200">
          <a:solidFill>
            <a:schemeClr val="tx1"/>
          </a:solidFill>
          <a:latin typeface="+mn-lt"/>
          <a:ea typeface="+mn-ea"/>
          <a:cs typeface="+mn-cs"/>
        </a:defRPr>
      </a:lvl8pPr>
      <a:lvl9pPr marL="3427171" algn="l" defTabSz="428396" rtl="0" eaLnBrk="1" latinLnBrk="0" hangingPunct="1">
        <a:defRPr sz="168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tiff"/><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4.tiff"/><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4.tiff"/><Relationship Id="rId7" Type="http://schemas.openxmlformats.org/officeDocument/2006/relationships/image" Target="../media/image14.sv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13.png"/><Relationship Id="rId5" Type="http://schemas.openxmlformats.org/officeDocument/2006/relationships/image" Target="../media/image26.png"/><Relationship Id="rId4" Type="http://schemas.openxmlformats.org/officeDocument/2006/relationships/hyperlink" Target="https://vimeo.com/569978556?embedded=true&amp;source=video_title&amp;owner=123388606"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tiff"/><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tiff"/><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hyperlink" Target="https://vimeo.com/720261803/ddd231c12c" TargetMode="External"/><Relationship Id="rId2" Type="http://schemas.openxmlformats.org/officeDocument/2006/relationships/image" Target="../media/image4.tiff"/><Relationship Id="rId1" Type="http://schemas.openxmlformats.org/officeDocument/2006/relationships/slideLayout" Target="../slideLayouts/slideLayout17.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4.tiff"/><Relationship Id="rId7" Type="http://schemas.openxmlformats.org/officeDocument/2006/relationships/image" Target="../media/image30.tiff"/><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hyperlink" Target="https://ussm.gsa.gov/fibf/" TargetMode="External"/><Relationship Id="rId5" Type="http://schemas.openxmlformats.org/officeDocument/2006/relationships/image" Target="../media/image15.png"/><Relationship Id="rId4" Type="http://schemas.openxmlformats.org/officeDocument/2006/relationships/hyperlink" Target="https://ussm.gsa.gov/m3phase0/"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32.tiff"/><Relationship Id="rId3" Type="http://schemas.openxmlformats.org/officeDocument/2006/relationships/image" Target="../media/image4.tiff"/><Relationship Id="rId7" Type="http://schemas.openxmlformats.org/officeDocument/2006/relationships/image" Target="../media/image30.tiff"/><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15.png"/><Relationship Id="rId5" Type="http://schemas.openxmlformats.org/officeDocument/2006/relationships/image" Target="../media/image31.tiff"/><Relationship Id="rId4" Type="http://schemas.openxmlformats.org/officeDocument/2006/relationships/hyperlink" Target="https://ussm.gsa.gov/m3phase1/" TargetMode="External"/><Relationship Id="rId9" Type="http://schemas.openxmlformats.org/officeDocument/2006/relationships/image" Target="../media/image33.tiff"/></Relationships>
</file>

<file path=ppt/slides/_rels/slide19.xml.rels><?xml version="1.0" encoding="UTF-8" standalone="yes"?>
<Relationships xmlns="http://schemas.openxmlformats.org/package/2006/relationships"><Relationship Id="rId8" Type="http://schemas.openxmlformats.org/officeDocument/2006/relationships/image" Target="../media/image34.tiff"/><Relationship Id="rId3" Type="http://schemas.openxmlformats.org/officeDocument/2006/relationships/image" Target="../media/image4.tiff"/><Relationship Id="rId7" Type="http://schemas.openxmlformats.org/officeDocument/2006/relationships/image" Target="../media/image32.tiff"/><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30.tiff"/><Relationship Id="rId5" Type="http://schemas.openxmlformats.org/officeDocument/2006/relationships/image" Target="../media/image15.png"/><Relationship Id="rId4" Type="http://schemas.openxmlformats.org/officeDocument/2006/relationships/hyperlink" Target="https://ussm.gsa.gov/m3phase2/" TargetMode="External"/><Relationship Id="rId9" Type="http://schemas.openxmlformats.org/officeDocument/2006/relationships/image" Target="../media/image33.tiff"/></Relationships>
</file>

<file path=ppt/slides/_rels/slide2.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23.xml"/><Relationship Id="rId3" Type="http://schemas.openxmlformats.org/officeDocument/2006/relationships/image" Target="../media/image6.png"/><Relationship Id="rId7" Type="http://schemas.openxmlformats.org/officeDocument/2006/relationships/slide" Target="slide7.xml"/><Relationship Id="rId12" Type="http://schemas.openxmlformats.org/officeDocument/2006/relationships/slide" Target="slide15.xml"/><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slide" Target="slide4.xml"/><Relationship Id="rId11" Type="http://schemas.openxmlformats.org/officeDocument/2006/relationships/slide" Target="slide12.xml"/><Relationship Id="rId5" Type="http://schemas.openxmlformats.org/officeDocument/2006/relationships/slide" Target="slide3.xml"/><Relationship Id="rId15" Type="http://schemas.openxmlformats.org/officeDocument/2006/relationships/slide" Target="slide25.xml"/><Relationship Id="rId10" Type="http://schemas.openxmlformats.org/officeDocument/2006/relationships/slide" Target="slide10.xml"/><Relationship Id="rId4" Type="http://schemas.openxmlformats.org/officeDocument/2006/relationships/image" Target="../media/image7.png"/><Relationship Id="rId9" Type="http://schemas.openxmlformats.org/officeDocument/2006/relationships/slide" Target="slide9.xml"/><Relationship Id="rId14" Type="http://schemas.openxmlformats.org/officeDocument/2006/relationships/slide" Target="slide24.xml"/></Relationships>
</file>

<file path=ppt/slides/_rels/slide20.xml.rels><?xml version="1.0" encoding="UTF-8" standalone="yes"?>
<Relationships xmlns="http://schemas.openxmlformats.org/package/2006/relationships"><Relationship Id="rId8" Type="http://schemas.openxmlformats.org/officeDocument/2006/relationships/image" Target="../media/image34.tiff"/><Relationship Id="rId3" Type="http://schemas.openxmlformats.org/officeDocument/2006/relationships/image" Target="../media/image4.tiff"/><Relationship Id="rId7" Type="http://schemas.openxmlformats.org/officeDocument/2006/relationships/image" Target="../media/image32.tiff"/><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30.tiff"/><Relationship Id="rId5" Type="http://schemas.openxmlformats.org/officeDocument/2006/relationships/image" Target="../media/image15.png"/><Relationship Id="rId4" Type="http://schemas.openxmlformats.org/officeDocument/2006/relationships/hyperlink" Target="https://ussm.gsa.gov/m3phase3/" TargetMode="External"/><Relationship Id="rId9" Type="http://schemas.openxmlformats.org/officeDocument/2006/relationships/image" Target="../media/image33.tiff"/></Relationships>
</file>

<file path=ppt/slides/_rels/slide21.xml.rels><?xml version="1.0" encoding="UTF-8" standalone="yes"?>
<Relationships xmlns="http://schemas.openxmlformats.org/package/2006/relationships"><Relationship Id="rId8" Type="http://schemas.openxmlformats.org/officeDocument/2006/relationships/image" Target="../media/image34.tiff"/><Relationship Id="rId3" Type="http://schemas.openxmlformats.org/officeDocument/2006/relationships/image" Target="../media/image4.tiff"/><Relationship Id="rId7" Type="http://schemas.openxmlformats.org/officeDocument/2006/relationships/image" Target="../media/image32.tiff"/><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30.tiff"/><Relationship Id="rId5" Type="http://schemas.openxmlformats.org/officeDocument/2006/relationships/image" Target="../media/image15.png"/><Relationship Id="rId4" Type="http://schemas.openxmlformats.org/officeDocument/2006/relationships/hyperlink" Target="https://ussm.gsa.gov/m3phase4/" TargetMode="External"/><Relationship Id="rId9" Type="http://schemas.openxmlformats.org/officeDocument/2006/relationships/image" Target="../media/image33.tiff"/></Relationships>
</file>

<file path=ppt/slides/_rels/slide22.xml.rels><?xml version="1.0" encoding="UTF-8" standalone="yes"?>
<Relationships xmlns="http://schemas.openxmlformats.org/package/2006/relationships"><Relationship Id="rId8" Type="http://schemas.openxmlformats.org/officeDocument/2006/relationships/image" Target="../media/image33.tiff"/><Relationship Id="rId3" Type="http://schemas.openxmlformats.org/officeDocument/2006/relationships/image" Target="../media/image4.tiff"/><Relationship Id="rId7" Type="http://schemas.openxmlformats.org/officeDocument/2006/relationships/image" Target="../media/image32.tiff"/><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30.tiff"/><Relationship Id="rId5" Type="http://schemas.openxmlformats.org/officeDocument/2006/relationships/image" Target="../media/image15.png"/><Relationship Id="rId4" Type="http://schemas.openxmlformats.org/officeDocument/2006/relationships/hyperlink" Target="https://ussm.gsa.gov/m3phase5/" TargetMode="External"/><Relationship Id="rId9" Type="http://schemas.openxmlformats.org/officeDocument/2006/relationships/image" Target="../media/image34.tiff"/></Relationships>
</file>

<file path=ppt/slides/_rels/slide23.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image" Target="../media/image36.png"/><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hyperlink" Target="https://ussm.gsa.gov/m3resources/" TargetMode="External"/><Relationship Id="rId7" Type="http://schemas.openxmlformats.org/officeDocument/2006/relationships/hyperlink" Target="https://ussm.gsa.gov/qsmo/" TargetMode="External"/><Relationship Id="rId2" Type="http://schemas.openxmlformats.org/officeDocument/2006/relationships/image" Target="../media/image4.tiff"/><Relationship Id="rId1" Type="http://schemas.openxmlformats.org/officeDocument/2006/relationships/slideLayout" Target="../slideLayouts/slideLayout14.xml"/><Relationship Id="rId6" Type="http://schemas.openxmlformats.org/officeDocument/2006/relationships/hyperlink" Target="https://ussm.gsa.gov/about/" TargetMode="External"/><Relationship Id="rId11" Type="http://schemas.openxmlformats.org/officeDocument/2006/relationships/image" Target="../media/image40.jpeg"/><Relationship Id="rId5" Type="http://schemas.openxmlformats.org/officeDocument/2006/relationships/hyperlink" Target="https://ussm.gsa.gov/assets/files/M3-Playbook.pdf" TargetMode="External"/><Relationship Id="rId10" Type="http://schemas.openxmlformats.org/officeDocument/2006/relationships/image" Target="../media/image39.jpeg"/><Relationship Id="rId4" Type="http://schemas.openxmlformats.org/officeDocument/2006/relationships/hyperlink" Target="https://ussm.gsa.gov/m3/" TargetMode="External"/><Relationship Id="rId9" Type="http://schemas.openxmlformats.org/officeDocument/2006/relationships/image" Target="../media/image38.jpeg"/></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tiff"/><Relationship Id="rId1" Type="http://schemas.openxmlformats.org/officeDocument/2006/relationships/slideLayout" Target="../slideLayouts/slideLayout24.xml"/><Relationship Id="rId6" Type="http://schemas.openxmlformats.org/officeDocument/2006/relationships/hyperlink" Target="https://ussm.gsa.gov/m3/" TargetMode="External"/><Relationship Id="rId5" Type="http://schemas.openxmlformats.org/officeDocument/2006/relationships/hyperlink" Target="mailto:osspi.sharedservices@gsa.gov" TargetMode="External"/><Relationship Id="rId4" Type="http://schemas.openxmlformats.org/officeDocument/2006/relationships/hyperlink" Target="https://ussm.gsa.gov/qsmo/"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tiff"/><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hyperlink" Target="https://vimeo.com/677308076/f71d457043" TargetMode="External"/><Relationship Id="rId2" Type="http://schemas.openxmlformats.org/officeDocument/2006/relationships/image" Target="../media/image4.tiff"/><Relationship Id="rId1" Type="http://schemas.openxmlformats.org/officeDocument/2006/relationships/slideLayout" Target="../slideLayouts/slideLayout17.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hyperlink" Target="https://vimeo.com/704934121/437ef4784d" TargetMode="External"/><Relationship Id="rId2" Type="http://schemas.openxmlformats.org/officeDocument/2006/relationships/image" Target="../media/image4.tiff"/><Relationship Id="rId1" Type="http://schemas.openxmlformats.org/officeDocument/2006/relationships/slideLayout" Target="../slideLayouts/slideLayout17.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4.xml"/><Relationship Id="rId1" Type="http://schemas.openxmlformats.org/officeDocument/2006/relationships/slideLayout" Target="../slideLayouts/slideLayout24.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DE131F-BBC8-4562-8E4A-C35848900F39}"/>
              </a:ext>
            </a:extLst>
          </p:cNvPr>
          <p:cNvPicPr>
            <a:picLocks noChangeAspect="1"/>
          </p:cNvPicPr>
          <p:nvPr/>
        </p:nvPicPr>
        <p:blipFill>
          <a:blip r:embed="rId2"/>
          <a:stretch>
            <a:fillRect/>
          </a:stretch>
        </p:blipFill>
        <p:spPr>
          <a:xfrm>
            <a:off x="0" y="0"/>
            <a:ext cx="12192000" cy="6864296"/>
          </a:xfrm>
          <a:prstGeom prst="rect">
            <a:avLst/>
          </a:prstGeom>
        </p:spPr>
      </p:pic>
      <p:sp>
        <p:nvSpPr>
          <p:cNvPr id="3" name="Title 1">
            <a:extLst>
              <a:ext uri="{FF2B5EF4-FFF2-40B4-BE49-F238E27FC236}">
                <a16:creationId xmlns:a16="http://schemas.microsoft.com/office/drawing/2014/main" id="{75373F66-B30B-4540-AB80-142FCFDEBAE1}"/>
              </a:ext>
            </a:extLst>
          </p:cNvPr>
          <p:cNvSpPr txBox="1">
            <a:spLocks/>
          </p:cNvSpPr>
          <p:nvPr/>
        </p:nvSpPr>
        <p:spPr>
          <a:xfrm>
            <a:off x="2294664" y="1766200"/>
            <a:ext cx="10044292" cy="279399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3200" b="1"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2060"/>
              </a:buClr>
              <a:buSzPts val="1800"/>
              <a:buFont typeface="Arial"/>
              <a:buNone/>
              <a:tabLst/>
              <a:defRPr/>
            </a:pPr>
            <a:r>
              <a:rPr kumimoji="0" lang="en-US" sz="4400" b="1" i="0" u="none" strike="noStrike" kern="0" cap="none" spc="0" normalizeH="0" baseline="0" noProof="0">
                <a:ln>
                  <a:noFill/>
                </a:ln>
                <a:solidFill>
                  <a:srgbClr val="FFFFFF"/>
                </a:solidFill>
                <a:effectLst/>
                <a:uLnTx/>
                <a:uFillTx/>
                <a:latin typeface="Arial"/>
                <a:cs typeface="Arial"/>
                <a:sym typeface="Arial"/>
              </a:rPr>
              <a:t>Modernization and Migration Management (M3) Framework </a:t>
            </a:r>
          </a:p>
          <a:p>
            <a:pPr marL="0" marR="0" lvl="0" indent="0" algn="l" defTabSz="914400" rtl="0" eaLnBrk="1" fontAlgn="auto" latinLnBrk="0" hangingPunct="1">
              <a:lnSpc>
                <a:spcPct val="115000"/>
              </a:lnSpc>
              <a:spcBef>
                <a:spcPts val="1200"/>
              </a:spcBef>
              <a:spcAft>
                <a:spcPts val="0"/>
              </a:spcAft>
              <a:buClr>
                <a:srgbClr val="002060"/>
              </a:buClr>
              <a:buSzPts val="1800"/>
              <a:buFont typeface="Arial"/>
              <a:buNone/>
              <a:tabLst/>
              <a:defRPr/>
            </a:pPr>
            <a:r>
              <a:rPr kumimoji="0" lang="en-US" sz="3400" b="1" i="1" u="none" strike="noStrike" kern="0" cap="none" spc="0" normalizeH="0" baseline="0" noProof="0">
                <a:ln>
                  <a:noFill/>
                </a:ln>
                <a:solidFill>
                  <a:srgbClr val="FFFFFF"/>
                </a:solidFill>
                <a:effectLst/>
                <a:uLnTx/>
                <a:uFillTx/>
                <a:latin typeface="Arial"/>
                <a:cs typeface="Arial"/>
                <a:sym typeface="Arial"/>
              </a:rPr>
              <a:t>M3 Playbook Orientation  </a:t>
            </a:r>
            <a:endParaRPr kumimoji="0" lang="en-US" sz="3400" b="0" i="1" u="none" strike="noStrike" kern="0" cap="none" spc="0" normalizeH="0" baseline="0" noProof="0">
              <a:ln>
                <a:noFill/>
              </a:ln>
              <a:solidFill>
                <a:srgbClr val="FFFFFF"/>
              </a:solidFill>
              <a:effectLst/>
              <a:uLnTx/>
              <a:uFillTx/>
              <a:latin typeface="Arial"/>
              <a:cs typeface="Arial"/>
              <a:sym typeface="Arial"/>
            </a:endParaRPr>
          </a:p>
          <a:p>
            <a:pPr marL="0" marR="0" lvl="0" indent="0" algn="l" defTabSz="914400" rtl="0" eaLnBrk="1" fontAlgn="auto" latinLnBrk="0" hangingPunct="1">
              <a:lnSpc>
                <a:spcPct val="115000"/>
              </a:lnSpc>
              <a:spcBef>
                <a:spcPts val="0"/>
              </a:spcBef>
              <a:spcAft>
                <a:spcPts val="0"/>
              </a:spcAft>
              <a:buClr>
                <a:srgbClr val="002060"/>
              </a:buClr>
              <a:buSzPts val="1800"/>
              <a:buFont typeface="Arial"/>
              <a:buNone/>
              <a:tabLst/>
              <a:defRPr/>
            </a:pPr>
            <a:endParaRPr kumimoji="0" lang="en-US" sz="1400" b="0" i="1" u="none" strike="noStrike" kern="0" cap="none" spc="0" normalizeH="0" baseline="0" noProof="0">
              <a:ln>
                <a:noFill/>
              </a:ln>
              <a:solidFill>
                <a:srgbClr val="FFFFFF"/>
              </a:solidFill>
              <a:effectLst/>
              <a:uLnTx/>
              <a:uFillTx/>
              <a:latin typeface="Arial"/>
              <a:cs typeface="Arial"/>
              <a:sym typeface="Arial"/>
            </a:endParaRPr>
          </a:p>
          <a:p>
            <a:pPr marL="0" marR="0" lvl="0" indent="0" algn="l" defTabSz="914400" rtl="0" eaLnBrk="1" fontAlgn="auto" latinLnBrk="0" hangingPunct="1">
              <a:lnSpc>
                <a:spcPct val="115000"/>
              </a:lnSpc>
              <a:spcBef>
                <a:spcPts val="0"/>
              </a:spcBef>
              <a:spcAft>
                <a:spcPts val="0"/>
              </a:spcAft>
              <a:buClr>
                <a:srgbClr val="002060"/>
              </a:buClr>
              <a:buSzPts val="1800"/>
              <a:buFont typeface="Arial"/>
              <a:buNone/>
              <a:tabLst/>
              <a:defRPr/>
            </a:pPr>
            <a:endParaRPr kumimoji="0" lang="en-US" sz="1400" b="0" i="1" u="none" strike="noStrike" kern="0" cap="none" spc="0" normalizeH="0" baseline="0" noProof="0">
              <a:ln>
                <a:noFill/>
              </a:ln>
              <a:solidFill>
                <a:srgbClr val="FFFFFF"/>
              </a:solidFill>
              <a:effectLst/>
              <a:uLnTx/>
              <a:uFillTx/>
              <a:latin typeface="Arial"/>
              <a:cs typeface="Arial"/>
              <a:sym typeface="Arial"/>
            </a:endParaRPr>
          </a:p>
          <a:p>
            <a:pPr marL="0" marR="0" lvl="0" indent="0" algn="l" defTabSz="914400" rtl="0" eaLnBrk="1" fontAlgn="auto" latinLnBrk="0" hangingPunct="1">
              <a:lnSpc>
                <a:spcPct val="115000"/>
              </a:lnSpc>
              <a:spcBef>
                <a:spcPts val="0"/>
              </a:spcBef>
              <a:spcAft>
                <a:spcPts val="0"/>
              </a:spcAft>
              <a:buClr>
                <a:srgbClr val="002060"/>
              </a:buClr>
              <a:buSzPts val="1800"/>
              <a:buFont typeface="Arial"/>
              <a:buNone/>
              <a:tabLst/>
              <a:defRPr/>
            </a:pPr>
            <a:endParaRPr kumimoji="0" lang="en-US" sz="3200" b="0" i="1" u="none" strike="noStrike" kern="0" cap="none" spc="0" normalizeH="0" baseline="0" noProof="0">
              <a:ln>
                <a:noFill/>
              </a:ln>
              <a:solidFill>
                <a:srgbClr val="FFFF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3200" b="1" i="0" u="none" strike="noStrike" kern="0" cap="none" spc="0" normalizeH="0" baseline="0" noProof="0">
              <a:ln>
                <a:noFill/>
              </a:ln>
              <a:solidFill>
                <a:srgbClr val="FFFFFF"/>
              </a:solidFill>
              <a:effectLst/>
              <a:uLnTx/>
              <a:uFillTx/>
              <a:latin typeface="Arial"/>
              <a:cs typeface="Arial"/>
              <a:sym typeface="Arial"/>
            </a:endParaRPr>
          </a:p>
        </p:txBody>
      </p:sp>
      <p:sp>
        <p:nvSpPr>
          <p:cNvPr id="4" name="TextBox 3">
            <a:extLst>
              <a:ext uri="{FF2B5EF4-FFF2-40B4-BE49-F238E27FC236}">
                <a16:creationId xmlns:a16="http://schemas.microsoft.com/office/drawing/2014/main" id="{255DB21D-1CC4-4721-8A81-4D0F7E1EBE43}"/>
              </a:ext>
            </a:extLst>
          </p:cNvPr>
          <p:cNvSpPr txBox="1"/>
          <p:nvPr/>
        </p:nvSpPr>
        <p:spPr>
          <a:xfrm>
            <a:off x="5065777" y="6402983"/>
            <a:ext cx="6987076" cy="307777"/>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a:ln>
                  <a:noFill/>
                </a:ln>
                <a:solidFill>
                  <a:srgbClr val="FFFFFF"/>
                </a:solidFill>
                <a:effectLst/>
                <a:uLnTx/>
                <a:uFillTx/>
              </a:rPr>
              <a:t>GSA Office of Shared Solutions and Performance Improvement (OSSPI) </a:t>
            </a:r>
          </a:p>
        </p:txBody>
      </p:sp>
      <p:sp>
        <p:nvSpPr>
          <p:cNvPr id="5" name="Rectangle 4">
            <a:extLst>
              <a:ext uri="{FF2B5EF4-FFF2-40B4-BE49-F238E27FC236}">
                <a16:creationId xmlns:a16="http://schemas.microsoft.com/office/drawing/2014/main" id="{43111048-E7EB-4304-8026-5A8143D80C7F}"/>
              </a:ext>
            </a:extLst>
          </p:cNvPr>
          <p:cNvSpPr/>
          <p:nvPr/>
        </p:nvSpPr>
        <p:spPr>
          <a:xfrm>
            <a:off x="334172" y="110836"/>
            <a:ext cx="1634836" cy="1565564"/>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6E4665E7-5B0C-4DF9-8A07-E84D8947CE6D}"/>
              </a:ext>
            </a:extLst>
          </p:cNvPr>
          <p:cNvSpPr/>
          <p:nvPr/>
        </p:nvSpPr>
        <p:spPr>
          <a:xfrm>
            <a:off x="334212" y="1840991"/>
            <a:ext cx="1634836" cy="4906171"/>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7" name="Picture 6" descr="Text&#10;&#10;Description automatically generated">
            <a:extLst>
              <a:ext uri="{FF2B5EF4-FFF2-40B4-BE49-F238E27FC236}">
                <a16:creationId xmlns:a16="http://schemas.microsoft.com/office/drawing/2014/main" id="{307B3A2C-3030-4B7E-B9E3-6A43E382A6F7}"/>
              </a:ext>
            </a:extLst>
          </p:cNvPr>
          <p:cNvPicPr>
            <a:picLocks noChangeAspect="1"/>
          </p:cNvPicPr>
          <p:nvPr/>
        </p:nvPicPr>
        <p:blipFill>
          <a:blip r:embed="rId3"/>
          <a:stretch>
            <a:fillRect/>
          </a:stretch>
        </p:blipFill>
        <p:spPr>
          <a:xfrm>
            <a:off x="627599" y="6133839"/>
            <a:ext cx="1083253" cy="693881"/>
          </a:xfrm>
          <a:prstGeom prst="rect">
            <a:avLst/>
          </a:prstGeom>
        </p:spPr>
      </p:pic>
      <p:sp>
        <p:nvSpPr>
          <p:cNvPr id="10" name="Slide Number Placeholder 9">
            <a:extLst>
              <a:ext uri="{FF2B5EF4-FFF2-40B4-BE49-F238E27FC236}">
                <a16:creationId xmlns:a16="http://schemas.microsoft.com/office/drawing/2014/main" id="{6E1BC8F9-5D49-4846-B828-291AB54EF180}"/>
              </a:ext>
            </a:extLst>
          </p:cNvPr>
          <p:cNvSpPr>
            <a:spLocks noGrp="1"/>
          </p:cNvSpPr>
          <p:nvPr>
            <p:ph type="sldNum" sz="quarter" idx="12"/>
          </p:nvPr>
        </p:nvSpPr>
        <p:spPr/>
        <p:txBody>
          <a:bodyPr/>
          <a:lstStyle/>
          <a:p>
            <a:fld id="{DF6943E6-0357-1B40-8726-50F09ABBA837}" type="slidenum">
              <a:rPr lang="en-US" smtClean="0"/>
              <a:pPr/>
              <a:t>1</a:t>
            </a:fld>
            <a:endParaRPr lang="en-US"/>
          </a:p>
        </p:txBody>
      </p:sp>
    </p:spTree>
    <p:extLst>
      <p:ext uri="{BB962C8B-B14F-4D97-AF65-F5344CB8AC3E}">
        <p14:creationId xmlns:p14="http://schemas.microsoft.com/office/powerpoint/2010/main" val="2646215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DDCEBAD-F0CF-4787-9785-D8E03D5C47EB}"/>
              </a:ext>
            </a:extLst>
          </p:cNvPr>
          <p:cNvGrpSpPr/>
          <p:nvPr/>
        </p:nvGrpSpPr>
        <p:grpSpPr>
          <a:xfrm>
            <a:off x="-1005" y="2496312"/>
            <a:ext cx="12193005" cy="4470204"/>
            <a:chOff x="0" y="3836630"/>
            <a:chExt cx="12196277" cy="3103392"/>
          </a:xfrm>
        </p:grpSpPr>
        <p:sp>
          <p:nvSpPr>
            <p:cNvPr id="25" name="Rectangle 24">
              <a:extLst>
                <a:ext uri="{FF2B5EF4-FFF2-40B4-BE49-F238E27FC236}">
                  <a16:creationId xmlns:a16="http://schemas.microsoft.com/office/drawing/2014/main" id="{17D0660E-2054-4310-A2C3-9D58B9204783}"/>
                </a:ext>
              </a:extLst>
            </p:cNvPr>
            <p:cNvSpPr/>
            <p:nvPr/>
          </p:nvSpPr>
          <p:spPr>
            <a:xfrm>
              <a:off x="0" y="3836630"/>
              <a:ext cx="12192000" cy="3103392"/>
            </a:xfrm>
            <a:prstGeom prst="rect">
              <a:avLst/>
            </a:pr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6" name="Picture 35">
              <a:extLst>
                <a:ext uri="{FF2B5EF4-FFF2-40B4-BE49-F238E27FC236}">
                  <a16:creationId xmlns:a16="http://schemas.microsoft.com/office/drawing/2014/main" id="{6603E569-39C6-4760-A9AB-E067B1EE772E}"/>
                </a:ext>
              </a:extLst>
            </p:cNvPr>
            <p:cNvPicPr>
              <a:picLocks noChangeAspect="1"/>
            </p:cNvPicPr>
            <p:nvPr/>
          </p:nvPicPr>
          <p:blipFill>
            <a:blip r:embed="rId3"/>
            <a:stretch>
              <a:fillRect/>
            </a:stretch>
          </p:blipFill>
          <p:spPr>
            <a:xfrm>
              <a:off x="4277" y="3836630"/>
              <a:ext cx="12192000" cy="3103392"/>
            </a:xfrm>
            <a:prstGeom prst="rect">
              <a:avLst/>
            </a:prstGeom>
          </p:spPr>
        </p:pic>
      </p:grpSp>
      <p:sp>
        <p:nvSpPr>
          <p:cNvPr id="2" name="Slide Number Placeholder 1">
            <a:extLst>
              <a:ext uri="{FF2B5EF4-FFF2-40B4-BE49-F238E27FC236}">
                <a16:creationId xmlns:a16="http://schemas.microsoft.com/office/drawing/2014/main" id="{76E9D8C0-3C77-4BFE-B099-EA444B96033C}"/>
              </a:ext>
            </a:extLst>
          </p:cNvPr>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chemeClr val="bg1"/>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 sz="1200" b="1"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3" name="Footer Placeholder 2">
            <a:extLst>
              <a:ext uri="{FF2B5EF4-FFF2-40B4-BE49-F238E27FC236}">
                <a16:creationId xmlns:a16="http://schemas.microsoft.com/office/drawing/2014/main" id="{CEBC9765-4EDC-4E85-8B3F-CCCC4C9D8439}"/>
              </a:ext>
            </a:extLst>
          </p:cNvPr>
          <p:cNvSpPr>
            <a:spLocks noGrp="1"/>
          </p:cNvSpPr>
          <p:nvPr>
            <p:ph type="ftr" sz="quarter" idx="11"/>
          </p:nvPr>
        </p:nvSpPr>
        <p:spPr/>
        <p:txBody>
          <a:bodyPr/>
          <a:lstStyle/>
          <a:p>
            <a:pPr lvl="0">
              <a:defRPr/>
            </a:pPr>
            <a:r>
              <a:rPr lang="en-US"/>
              <a:t>M3 Playbook Orientation</a:t>
            </a:r>
          </a:p>
        </p:txBody>
      </p:sp>
      <p:sp>
        <p:nvSpPr>
          <p:cNvPr id="5" name="Title 4">
            <a:extLst>
              <a:ext uri="{FF2B5EF4-FFF2-40B4-BE49-F238E27FC236}">
                <a16:creationId xmlns:a16="http://schemas.microsoft.com/office/drawing/2014/main" id="{F1C974B4-7A26-4ECA-BA8F-BD644EE9ED1E}"/>
              </a:ext>
            </a:extLst>
          </p:cNvPr>
          <p:cNvSpPr>
            <a:spLocks noGrp="1"/>
          </p:cNvSpPr>
          <p:nvPr>
            <p:ph type="title"/>
          </p:nvPr>
        </p:nvSpPr>
        <p:spPr/>
        <p:txBody>
          <a:bodyPr/>
          <a:lstStyle/>
          <a:p>
            <a:r>
              <a:rPr lang="en-US"/>
              <a:t> </a:t>
            </a:r>
          </a:p>
        </p:txBody>
      </p:sp>
      <p:sp>
        <p:nvSpPr>
          <p:cNvPr id="7" name="TextBox 6">
            <a:extLst>
              <a:ext uri="{FF2B5EF4-FFF2-40B4-BE49-F238E27FC236}">
                <a16:creationId xmlns:a16="http://schemas.microsoft.com/office/drawing/2014/main" id="{02543AB4-8F4E-478A-B7CC-3935D5499BE0}"/>
              </a:ext>
            </a:extLst>
          </p:cNvPr>
          <p:cNvSpPr txBox="1"/>
          <p:nvPr/>
        </p:nvSpPr>
        <p:spPr>
          <a:xfrm>
            <a:off x="638355" y="1024343"/>
            <a:ext cx="11210064" cy="1077218"/>
          </a:xfrm>
          <a:prstGeom prst="rect">
            <a:avLst/>
          </a:prstGeom>
          <a:noFill/>
        </p:spPr>
        <p:txBody>
          <a:bodyPr wrap="square" rtlCol="0">
            <a:spAutoFit/>
          </a:bodyPr>
          <a:lstStyle/>
          <a:p>
            <a:pPr lvl="0">
              <a:buClrTx/>
              <a:defRPr/>
            </a:pPr>
            <a:r>
              <a:rPr kumimoji="0" lang="en-US" sz="1600" b="0" i="0" u="none" strike="noStrike" kern="1200" cap="none" spc="0" normalizeH="0" baseline="0" noProof="0">
                <a:ln>
                  <a:noFill/>
                </a:ln>
                <a:solidFill>
                  <a:srgbClr val="005087"/>
                </a:solidFill>
                <a:effectLst/>
                <a:uLnTx/>
                <a:uFillTx/>
                <a:latin typeface="Arial" panose="020B0604020202020204"/>
                <a:ea typeface="+mn-ea"/>
                <a:cs typeface="+mn-cs"/>
              </a:rPr>
              <a:t>The Office of Management and Budget (OMB) formally designated Quality Service Management Offices (QSMOs) to </a:t>
            </a:r>
            <a:r>
              <a:rPr lang="en-US" sz="1600" kern="1200">
                <a:solidFill>
                  <a:srgbClr val="005087"/>
                </a:solidFill>
              </a:rPr>
              <a:t>serve as governmentwide storefronts, offering modern technology and transaction processing solutions to drive scale, standardization and efficiency. </a:t>
            </a:r>
            <a:r>
              <a:rPr lang="en-US" sz="1600" kern="1200">
                <a:solidFill>
                  <a:srgbClr val="005087"/>
                </a:solidFill>
                <a:ea typeface="+mn-ea"/>
                <a:cs typeface="+mn-cs"/>
              </a:rPr>
              <a:t>The M3 Playbook provides a set of best practices and guidance for engaging with the appropriate QSMO as Federal agencies implement solutions from the QSMO Marketplace. </a:t>
            </a:r>
            <a:endParaRPr kumimoji="0" lang="en-US" sz="1600" b="0"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8F8FBAEC-9FA4-4DC2-93D2-9BB3801A6610}"/>
              </a:ext>
            </a:extLst>
          </p:cNvPr>
          <p:cNvSpPr/>
          <p:nvPr/>
        </p:nvSpPr>
        <p:spPr>
          <a:xfrm>
            <a:off x="638355" y="2719739"/>
            <a:ext cx="9893790"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Housed in Federal agencies with the mission and expertise to deliver standard capabilities for Federal agencies government-wide, QSMOs:</a:t>
            </a:r>
          </a:p>
        </p:txBody>
      </p:sp>
      <p:grpSp>
        <p:nvGrpSpPr>
          <p:cNvPr id="12" name="Group 11">
            <a:extLst>
              <a:ext uri="{FF2B5EF4-FFF2-40B4-BE49-F238E27FC236}">
                <a16:creationId xmlns:a16="http://schemas.microsoft.com/office/drawing/2014/main" id="{26930654-423B-4ADC-9007-F7B6577ADB65}"/>
              </a:ext>
            </a:extLst>
          </p:cNvPr>
          <p:cNvGrpSpPr/>
          <p:nvPr/>
        </p:nvGrpSpPr>
        <p:grpSpPr>
          <a:xfrm>
            <a:off x="979003" y="3667126"/>
            <a:ext cx="10256995" cy="2498071"/>
            <a:chOff x="731578" y="3613181"/>
            <a:chExt cx="10256995" cy="2498071"/>
          </a:xfrm>
        </p:grpSpPr>
        <p:grpSp>
          <p:nvGrpSpPr>
            <p:cNvPr id="15" name="Group 14">
              <a:extLst>
                <a:ext uri="{FF2B5EF4-FFF2-40B4-BE49-F238E27FC236}">
                  <a16:creationId xmlns:a16="http://schemas.microsoft.com/office/drawing/2014/main" id="{335853C0-272A-4C95-AF37-2E28C20F64F3}"/>
                </a:ext>
              </a:extLst>
            </p:cNvPr>
            <p:cNvGrpSpPr/>
            <p:nvPr/>
          </p:nvGrpSpPr>
          <p:grpSpPr>
            <a:xfrm>
              <a:off x="731578" y="5187922"/>
              <a:ext cx="4764845" cy="923330"/>
              <a:chOff x="5777207" y="3528128"/>
              <a:chExt cx="4764845" cy="923330"/>
            </a:xfrm>
          </p:grpSpPr>
          <p:sp>
            <p:nvSpPr>
              <p:cNvPr id="26" name="Freeform: Shape 25">
                <a:extLst>
                  <a:ext uri="{FF2B5EF4-FFF2-40B4-BE49-F238E27FC236}">
                    <a16:creationId xmlns:a16="http://schemas.microsoft.com/office/drawing/2014/main" id="{2A2B5638-CF6F-452E-87B8-498CFDA1114D}"/>
                  </a:ext>
                </a:extLst>
              </p:cNvPr>
              <p:cNvSpPr/>
              <p:nvPr/>
            </p:nvSpPr>
            <p:spPr>
              <a:xfrm>
                <a:off x="5777207" y="3528128"/>
                <a:ext cx="4764845" cy="923330"/>
              </a:xfrm>
              <a:custGeom>
                <a:avLst/>
                <a:gdLst>
                  <a:gd name="connsiteX0" fmla="*/ 475167 w 5236695"/>
                  <a:gd name="connsiteY0" fmla="*/ 0 h 923330"/>
                  <a:gd name="connsiteX1" fmla="*/ 4761528 w 5236695"/>
                  <a:gd name="connsiteY1" fmla="*/ 0 h 923330"/>
                  <a:gd name="connsiteX2" fmla="*/ 4788583 w 5236695"/>
                  <a:gd name="connsiteY2" fmla="*/ 5462 h 923330"/>
                  <a:gd name="connsiteX3" fmla="*/ 4871637 w 5236695"/>
                  <a:gd name="connsiteY3" fmla="*/ 13835 h 923330"/>
                  <a:gd name="connsiteX4" fmla="*/ 5236695 w 5236695"/>
                  <a:gd name="connsiteY4" fmla="*/ 461746 h 923330"/>
                  <a:gd name="connsiteX5" fmla="*/ 4871637 w 5236695"/>
                  <a:gd name="connsiteY5" fmla="*/ 909658 h 923330"/>
                  <a:gd name="connsiteX6" fmla="*/ 4786981 w 5236695"/>
                  <a:gd name="connsiteY6" fmla="*/ 918192 h 923330"/>
                  <a:gd name="connsiteX7" fmla="*/ 4761528 w 5236695"/>
                  <a:gd name="connsiteY7" fmla="*/ 923330 h 923330"/>
                  <a:gd name="connsiteX8" fmla="*/ 475167 w 5236695"/>
                  <a:gd name="connsiteY8" fmla="*/ 923330 h 923330"/>
                  <a:gd name="connsiteX9" fmla="*/ 449715 w 5236695"/>
                  <a:gd name="connsiteY9" fmla="*/ 918192 h 923330"/>
                  <a:gd name="connsiteX10" fmla="*/ 365059 w 5236695"/>
                  <a:gd name="connsiteY10" fmla="*/ 909658 h 923330"/>
                  <a:gd name="connsiteX11" fmla="*/ 0 w 5236695"/>
                  <a:gd name="connsiteY11" fmla="*/ 461746 h 923330"/>
                  <a:gd name="connsiteX12" fmla="*/ 365059 w 5236695"/>
                  <a:gd name="connsiteY12" fmla="*/ 13835 h 923330"/>
                  <a:gd name="connsiteX13" fmla="*/ 448112 w 5236695"/>
                  <a:gd name="connsiteY13" fmla="*/ 5462 h 92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695" h="923330">
                    <a:moveTo>
                      <a:pt x="475167" y="0"/>
                    </a:moveTo>
                    <a:lnTo>
                      <a:pt x="4761528" y="0"/>
                    </a:lnTo>
                    <a:lnTo>
                      <a:pt x="4788583" y="5462"/>
                    </a:lnTo>
                    <a:lnTo>
                      <a:pt x="4871637" y="13835"/>
                    </a:lnTo>
                    <a:cubicBezTo>
                      <a:pt x="5079975" y="56467"/>
                      <a:pt x="5236695" y="240804"/>
                      <a:pt x="5236695" y="461746"/>
                    </a:cubicBezTo>
                    <a:cubicBezTo>
                      <a:pt x="5236695" y="682688"/>
                      <a:pt x="5079975" y="867025"/>
                      <a:pt x="4871637" y="909658"/>
                    </a:cubicBezTo>
                    <a:lnTo>
                      <a:pt x="4786981" y="918192"/>
                    </a:lnTo>
                    <a:lnTo>
                      <a:pt x="4761528" y="923330"/>
                    </a:lnTo>
                    <a:lnTo>
                      <a:pt x="475167" y="923330"/>
                    </a:lnTo>
                    <a:lnTo>
                      <a:pt x="449715" y="918192"/>
                    </a:lnTo>
                    <a:lnTo>
                      <a:pt x="365059" y="909658"/>
                    </a:lnTo>
                    <a:cubicBezTo>
                      <a:pt x="156719" y="867025"/>
                      <a:pt x="0" y="682688"/>
                      <a:pt x="0" y="461746"/>
                    </a:cubicBezTo>
                    <a:cubicBezTo>
                      <a:pt x="0" y="240804"/>
                      <a:pt x="156719" y="56467"/>
                      <a:pt x="365059" y="13835"/>
                    </a:cubicBezTo>
                    <a:lnTo>
                      <a:pt x="448112" y="5462"/>
                    </a:lnTo>
                    <a:close/>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46F8F03B-EF1F-4DFB-9405-A6D44CC5F525}"/>
                  </a:ext>
                </a:extLst>
              </p:cNvPr>
              <p:cNvSpPr/>
              <p:nvPr/>
            </p:nvSpPr>
            <p:spPr>
              <a:xfrm>
                <a:off x="5777207" y="3537058"/>
                <a:ext cx="914400" cy="9144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F46E9E0A-A8DB-4647-855F-3BC5213F05F2}"/>
                </a:ext>
              </a:extLst>
            </p:cNvPr>
            <p:cNvGrpSpPr/>
            <p:nvPr/>
          </p:nvGrpSpPr>
          <p:grpSpPr>
            <a:xfrm>
              <a:off x="6223726" y="3613181"/>
              <a:ext cx="4764847" cy="923330"/>
              <a:chOff x="5777207" y="3528128"/>
              <a:chExt cx="4764847" cy="923330"/>
            </a:xfrm>
          </p:grpSpPr>
          <p:sp>
            <p:nvSpPr>
              <p:cNvPr id="28" name="Freeform: Shape 27">
                <a:extLst>
                  <a:ext uri="{FF2B5EF4-FFF2-40B4-BE49-F238E27FC236}">
                    <a16:creationId xmlns:a16="http://schemas.microsoft.com/office/drawing/2014/main" id="{8DC3B2B7-55F4-4788-8D79-7E1C4227FEB6}"/>
                  </a:ext>
                </a:extLst>
              </p:cNvPr>
              <p:cNvSpPr/>
              <p:nvPr/>
            </p:nvSpPr>
            <p:spPr>
              <a:xfrm>
                <a:off x="5777208" y="3528128"/>
                <a:ext cx="4764846" cy="923330"/>
              </a:xfrm>
              <a:custGeom>
                <a:avLst/>
                <a:gdLst>
                  <a:gd name="connsiteX0" fmla="*/ 475167 w 5236695"/>
                  <a:gd name="connsiteY0" fmla="*/ 0 h 923330"/>
                  <a:gd name="connsiteX1" fmla="*/ 4761528 w 5236695"/>
                  <a:gd name="connsiteY1" fmla="*/ 0 h 923330"/>
                  <a:gd name="connsiteX2" fmla="*/ 4788583 w 5236695"/>
                  <a:gd name="connsiteY2" fmla="*/ 5462 h 923330"/>
                  <a:gd name="connsiteX3" fmla="*/ 4871637 w 5236695"/>
                  <a:gd name="connsiteY3" fmla="*/ 13835 h 923330"/>
                  <a:gd name="connsiteX4" fmla="*/ 5236695 w 5236695"/>
                  <a:gd name="connsiteY4" fmla="*/ 461746 h 923330"/>
                  <a:gd name="connsiteX5" fmla="*/ 4871637 w 5236695"/>
                  <a:gd name="connsiteY5" fmla="*/ 909658 h 923330"/>
                  <a:gd name="connsiteX6" fmla="*/ 4786981 w 5236695"/>
                  <a:gd name="connsiteY6" fmla="*/ 918192 h 923330"/>
                  <a:gd name="connsiteX7" fmla="*/ 4761528 w 5236695"/>
                  <a:gd name="connsiteY7" fmla="*/ 923330 h 923330"/>
                  <a:gd name="connsiteX8" fmla="*/ 475167 w 5236695"/>
                  <a:gd name="connsiteY8" fmla="*/ 923330 h 923330"/>
                  <a:gd name="connsiteX9" fmla="*/ 449715 w 5236695"/>
                  <a:gd name="connsiteY9" fmla="*/ 918192 h 923330"/>
                  <a:gd name="connsiteX10" fmla="*/ 365059 w 5236695"/>
                  <a:gd name="connsiteY10" fmla="*/ 909658 h 923330"/>
                  <a:gd name="connsiteX11" fmla="*/ 0 w 5236695"/>
                  <a:gd name="connsiteY11" fmla="*/ 461746 h 923330"/>
                  <a:gd name="connsiteX12" fmla="*/ 365059 w 5236695"/>
                  <a:gd name="connsiteY12" fmla="*/ 13835 h 923330"/>
                  <a:gd name="connsiteX13" fmla="*/ 448112 w 5236695"/>
                  <a:gd name="connsiteY13" fmla="*/ 5462 h 92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695" h="923330">
                    <a:moveTo>
                      <a:pt x="475167" y="0"/>
                    </a:moveTo>
                    <a:lnTo>
                      <a:pt x="4761528" y="0"/>
                    </a:lnTo>
                    <a:lnTo>
                      <a:pt x="4788583" y="5462"/>
                    </a:lnTo>
                    <a:lnTo>
                      <a:pt x="4871637" y="13835"/>
                    </a:lnTo>
                    <a:cubicBezTo>
                      <a:pt x="5079975" y="56467"/>
                      <a:pt x="5236695" y="240804"/>
                      <a:pt x="5236695" y="461746"/>
                    </a:cubicBezTo>
                    <a:cubicBezTo>
                      <a:pt x="5236695" y="682688"/>
                      <a:pt x="5079975" y="867025"/>
                      <a:pt x="4871637" y="909658"/>
                    </a:cubicBezTo>
                    <a:lnTo>
                      <a:pt x="4786981" y="918192"/>
                    </a:lnTo>
                    <a:lnTo>
                      <a:pt x="4761528" y="923330"/>
                    </a:lnTo>
                    <a:lnTo>
                      <a:pt x="475167" y="923330"/>
                    </a:lnTo>
                    <a:lnTo>
                      <a:pt x="449715" y="918192"/>
                    </a:lnTo>
                    <a:lnTo>
                      <a:pt x="365059" y="909658"/>
                    </a:lnTo>
                    <a:cubicBezTo>
                      <a:pt x="156719" y="867025"/>
                      <a:pt x="0" y="682688"/>
                      <a:pt x="0" y="461746"/>
                    </a:cubicBezTo>
                    <a:cubicBezTo>
                      <a:pt x="0" y="240804"/>
                      <a:pt x="156719" y="56467"/>
                      <a:pt x="365059" y="13835"/>
                    </a:cubicBezTo>
                    <a:lnTo>
                      <a:pt x="448112" y="5462"/>
                    </a:lnTo>
                    <a:close/>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B2400AEB-F4C8-4D3C-AA66-3289693F0477}"/>
                  </a:ext>
                </a:extLst>
              </p:cNvPr>
              <p:cNvSpPr/>
              <p:nvPr/>
            </p:nvSpPr>
            <p:spPr>
              <a:xfrm>
                <a:off x="5777207" y="3537058"/>
                <a:ext cx="914400" cy="9144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1" name="Freeform: Shape 30">
              <a:extLst>
                <a:ext uri="{FF2B5EF4-FFF2-40B4-BE49-F238E27FC236}">
                  <a16:creationId xmlns:a16="http://schemas.microsoft.com/office/drawing/2014/main" id="{751111DA-475D-4E5E-8AEE-3283F9F94720}"/>
                </a:ext>
              </a:extLst>
            </p:cNvPr>
            <p:cNvSpPr/>
            <p:nvPr/>
          </p:nvSpPr>
          <p:spPr>
            <a:xfrm>
              <a:off x="6223727" y="5187922"/>
              <a:ext cx="4764846" cy="923330"/>
            </a:xfrm>
            <a:custGeom>
              <a:avLst/>
              <a:gdLst>
                <a:gd name="connsiteX0" fmla="*/ 475167 w 5236695"/>
                <a:gd name="connsiteY0" fmla="*/ 0 h 923330"/>
                <a:gd name="connsiteX1" fmla="*/ 4761528 w 5236695"/>
                <a:gd name="connsiteY1" fmla="*/ 0 h 923330"/>
                <a:gd name="connsiteX2" fmla="*/ 4788583 w 5236695"/>
                <a:gd name="connsiteY2" fmla="*/ 5462 h 923330"/>
                <a:gd name="connsiteX3" fmla="*/ 4871637 w 5236695"/>
                <a:gd name="connsiteY3" fmla="*/ 13835 h 923330"/>
                <a:gd name="connsiteX4" fmla="*/ 5236695 w 5236695"/>
                <a:gd name="connsiteY4" fmla="*/ 461746 h 923330"/>
                <a:gd name="connsiteX5" fmla="*/ 4871637 w 5236695"/>
                <a:gd name="connsiteY5" fmla="*/ 909658 h 923330"/>
                <a:gd name="connsiteX6" fmla="*/ 4786981 w 5236695"/>
                <a:gd name="connsiteY6" fmla="*/ 918192 h 923330"/>
                <a:gd name="connsiteX7" fmla="*/ 4761528 w 5236695"/>
                <a:gd name="connsiteY7" fmla="*/ 923330 h 923330"/>
                <a:gd name="connsiteX8" fmla="*/ 475167 w 5236695"/>
                <a:gd name="connsiteY8" fmla="*/ 923330 h 923330"/>
                <a:gd name="connsiteX9" fmla="*/ 449715 w 5236695"/>
                <a:gd name="connsiteY9" fmla="*/ 918192 h 923330"/>
                <a:gd name="connsiteX10" fmla="*/ 365059 w 5236695"/>
                <a:gd name="connsiteY10" fmla="*/ 909658 h 923330"/>
                <a:gd name="connsiteX11" fmla="*/ 0 w 5236695"/>
                <a:gd name="connsiteY11" fmla="*/ 461746 h 923330"/>
                <a:gd name="connsiteX12" fmla="*/ 365059 w 5236695"/>
                <a:gd name="connsiteY12" fmla="*/ 13835 h 923330"/>
                <a:gd name="connsiteX13" fmla="*/ 448112 w 5236695"/>
                <a:gd name="connsiteY13" fmla="*/ 5462 h 92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695" h="923330">
                  <a:moveTo>
                    <a:pt x="475167" y="0"/>
                  </a:moveTo>
                  <a:lnTo>
                    <a:pt x="4761528" y="0"/>
                  </a:lnTo>
                  <a:lnTo>
                    <a:pt x="4788583" y="5462"/>
                  </a:lnTo>
                  <a:lnTo>
                    <a:pt x="4871637" y="13835"/>
                  </a:lnTo>
                  <a:cubicBezTo>
                    <a:pt x="5079975" y="56467"/>
                    <a:pt x="5236695" y="240804"/>
                    <a:pt x="5236695" y="461746"/>
                  </a:cubicBezTo>
                  <a:cubicBezTo>
                    <a:pt x="5236695" y="682688"/>
                    <a:pt x="5079975" y="867025"/>
                    <a:pt x="4871637" y="909658"/>
                  </a:cubicBezTo>
                  <a:lnTo>
                    <a:pt x="4786981" y="918192"/>
                  </a:lnTo>
                  <a:lnTo>
                    <a:pt x="4761528" y="923330"/>
                  </a:lnTo>
                  <a:lnTo>
                    <a:pt x="475167" y="923330"/>
                  </a:lnTo>
                  <a:lnTo>
                    <a:pt x="449715" y="918192"/>
                  </a:lnTo>
                  <a:lnTo>
                    <a:pt x="365059" y="909658"/>
                  </a:lnTo>
                  <a:cubicBezTo>
                    <a:pt x="156719" y="867025"/>
                    <a:pt x="0" y="682688"/>
                    <a:pt x="0" y="461746"/>
                  </a:cubicBezTo>
                  <a:cubicBezTo>
                    <a:pt x="0" y="240804"/>
                    <a:pt x="156719" y="56467"/>
                    <a:pt x="365059" y="13835"/>
                  </a:cubicBezTo>
                  <a:lnTo>
                    <a:pt x="448112" y="5462"/>
                  </a:lnTo>
                  <a:close/>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85239AD5-FA1C-483E-9094-9E689DD9823C}"/>
                </a:ext>
              </a:extLst>
            </p:cNvPr>
            <p:cNvGrpSpPr/>
            <p:nvPr/>
          </p:nvGrpSpPr>
          <p:grpSpPr>
            <a:xfrm>
              <a:off x="731578" y="3617646"/>
              <a:ext cx="4764845" cy="923330"/>
              <a:chOff x="5772553" y="2031879"/>
              <a:chExt cx="4764845" cy="923330"/>
            </a:xfrm>
          </p:grpSpPr>
          <p:grpSp>
            <p:nvGrpSpPr>
              <p:cNvPr id="33" name="Group 32">
                <a:extLst>
                  <a:ext uri="{FF2B5EF4-FFF2-40B4-BE49-F238E27FC236}">
                    <a16:creationId xmlns:a16="http://schemas.microsoft.com/office/drawing/2014/main" id="{A865FCB7-6E47-4E5A-AB88-5EB1AC09AB2F}"/>
                  </a:ext>
                </a:extLst>
              </p:cNvPr>
              <p:cNvGrpSpPr/>
              <p:nvPr/>
            </p:nvGrpSpPr>
            <p:grpSpPr>
              <a:xfrm>
                <a:off x="5772553" y="2031879"/>
                <a:ext cx="4764845" cy="923330"/>
                <a:chOff x="5777207" y="3528128"/>
                <a:chExt cx="4764845" cy="923330"/>
              </a:xfrm>
            </p:grpSpPr>
            <p:sp>
              <p:nvSpPr>
                <p:cNvPr id="34" name="Freeform: Shape 33">
                  <a:extLst>
                    <a:ext uri="{FF2B5EF4-FFF2-40B4-BE49-F238E27FC236}">
                      <a16:creationId xmlns:a16="http://schemas.microsoft.com/office/drawing/2014/main" id="{CDA21A58-839A-4969-80A2-AFA7F08F1B02}"/>
                    </a:ext>
                  </a:extLst>
                </p:cNvPr>
                <p:cNvSpPr/>
                <p:nvPr/>
              </p:nvSpPr>
              <p:spPr>
                <a:xfrm>
                  <a:off x="5777207" y="3528128"/>
                  <a:ext cx="4764845" cy="923330"/>
                </a:xfrm>
                <a:custGeom>
                  <a:avLst/>
                  <a:gdLst>
                    <a:gd name="connsiteX0" fmla="*/ 475167 w 5236695"/>
                    <a:gd name="connsiteY0" fmla="*/ 0 h 923330"/>
                    <a:gd name="connsiteX1" fmla="*/ 4761528 w 5236695"/>
                    <a:gd name="connsiteY1" fmla="*/ 0 h 923330"/>
                    <a:gd name="connsiteX2" fmla="*/ 4788583 w 5236695"/>
                    <a:gd name="connsiteY2" fmla="*/ 5462 h 923330"/>
                    <a:gd name="connsiteX3" fmla="*/ 4871637 w 5236695"/>
                    <a:gd name="connsiteY3" fmla="*/ 13835 h 923330"/>
                    <a:gd name="connsiteX4" fmla="*/ 5236695 w 5236695"/>
                    <a:gd name="connsiteY4" fmla="*/ 461746 h 923330"/>
                    <a:gd name="connsiteX5" fmla="*/ 4871637 w 5236695"/>
                    <a:gd name="connsiteY5" fmla="*/ 909658 h 923330"/>
                    <a:gd name="connsiteX6" fmla="*/ 4786981 w 5236695"/>
                    <a:gd name="connsiteY6" fmla="*/ 918192 h 923330"/>
                    <a:gd name="connsiteX7" fmla="*/ 4761528 w 5236695"/>
                    <a:gd name="connsiteY7" fmla="*/ 923330 h 923330"/>
                    <a:gd name="connsiteX8" fmla="*/ 475167 w 5236695"/>
                    <a:gd name="connsiteY8" fmla="*/ 923330 h 923330"/>
                    <a:gd name="connsiteX9" fmla="*/ 449715 w 5236695"/>
                    <a:gd name="connsiteY9" fmla="*/ 918192 h 923330"/>
                    <a:gd name="connsiteX10" fmla="*/ 365059 w 5236695"/>
                    <a:gd name="connsiteY10" fmla="*/ 909658 h 923330"/>
                    <a:gd name="connsiteX11" fmla="*/ 0 w 5236695"/>
                    <a:gd name="connsiteY11" fmla="*/ 461746 h 923330"/>
                    <a:gd name="connsiteX12" fmla="*/ 365059 w 5236695"/>
                    <a:gd name="connsiteY12" fmla="*/ 13835 h 923330"/>
                    <a:gd name="connsiteX13" fmla="*/ 448112 w 5236695"/>
                    <a:gd name="connsiteY13" fmla="*/ 5462 h 92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695" h="923330">
                      <a:moveTo>
                        <a:pt x="475167" y="0"/>
                      </a:moveTo>
                      <a:lnTo>
                        <a:pt x="4761528" y="0"/>
                      </a:lnTo>
                      <a:lnTo>
                        <a:pt x="4788583" y="5462"/>
                      </a:lnTo>
                      <a:lnTo>
                        <a:pt x="4871637" y="13835"/>
                      </a:lnTo>
                      <a:cubicBezTo>
                        <a:pt x="5079975" y="56467"/>
                        <a:pt x="5236695" y="240804"/>
                        <a:pt x="5236695" y="461746"/>
                      </a:cubicBezTo>
                      <a:cubicBezTo>
                        <a:pt x="5236695" y="682688"/>
                        <a:pt x="5079975" y="867025"/>
                        <a:pt x="4871637" y="909658"/>
                      </a:cubicBezTo>
                      <a:lnTo>
                        <a:pt x="4786981" y="918192"/>
                      </a:lnTo>
                      <a:lnTo>
                        <a:pt x="4761528" y="923330"/>
                      </a:lnTo>
                      <a:lnTo>
                        <a:pt x="475167" y="923330"/>
                      </a:lnTo>
                      <a:lnTo>
                        <a:pt x="449715" y="918192"/>
                      </a:lnTo>
                      <a:lnTo>
                        <a:pt x="365059" y="909658"/>
                      </a:lnTo>
                      <a:cubicBezTo>
                        <a:pt x="156719" y="867025"/>
                        <a:pt x="0" y="682688"/>
                        <a:pt x="0" y="461746"/>
                      </a:cubicBezTo>
                      <a:cubicBezTo>
                        <a:pt x="0" y="240804"/>
                        <a:pt x="156719" y="56467"/>
                        <a:pt x="365059" y="13835"/>
                      </a:cubicBezTo>
                      <a:lnTo>
                        <a:pt x="448112" y="5462"/>
                      </a:lnTo>
                      <a:close/>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53919B6A-5FF9-4ADB-B7E9-5B6F8349CECC}"/>
                    </a:ext>
                  </a:extLst>
                </p:cNvPr>
                <p:cNvSpPr/>
                <p:nvPr/>
              </p:nvSpPr>
              <p:spPr>
                <a:xfrm>
                  <a:off x="5777207" y="3537058"/>
                  <a:ext cx="914400" cy="9144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6" name="Rectangle 15">
                <a:extLst>
                  <a:ext uri="{FF2B5EF4-FFF2-40B4-BE49-F238E27FC236}">
                    <a16:creationId xmlns:a16="http://schemas.microsoft.com/office/drawing/2014/main" id="{8D0EBEAC-006F-40CA-B68D-7F5BAC6C80D7}"/>
                  </a:ext>
                </a:extLst>
              </p:cNvPr>
              <p:cNvSpPr/>
              <p:nvPr/>
            </p:nvSpPr>
            <p:spPr>
              <a:xfrm>
                <a:off x="6764013" y="2174843"/>
                <a:ext cx="349644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FFFFFF"/>
                    </a:solidFill>
                    <a:effectLst/>
                    <a:uLnTx/>
                    <a:uFillTx/>
                    <a:latin typeface="Arial" panose="020B0604020202020204"/>
                    <a:ea typeface="+mn-ea"/>
                    <a:cs typeface="+mn-cs"/>
                  </a:rPr>
                  <a:t>Offer and manage a marketplace of solutions for common technology and services in response to agency needs</a:t>
                </a:r>
              </a:p>
            </p:txBody>
          </p:sp>
        </p:grpSp>
        <p:sp>
          <p:nvSpPr>
            <p:cNvPr id="10" name="TextBox 9">
              <a:extLst>
                <a:ext uri="{FF2B5EF4-FFF2-40B4-BE49-F238E27FC236}">
                  <a16:creationId xmlns:a16="http://schemas.microsoft.com/office/drawing/2014/main" id="{9729CF85-5535-4921-966C-EC713B5A2C73}"/>
                </a:ext>
              </a:extLst>
            </p:cNvPr>
            <p:cNvSpPr txBox="1"/>
            <p:nvPr/>
          </p:nvSpPr>
          <p:spPr>
            <a:xfrm>
              <a:off x="1727623" y="5420675"/>
              <a:ext cx="349644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Guide and govern the long-term sustainability of the services and solutions marketplace</a:t>
              </a:r>
            </a:p>
          </p:txBody>
        </p:sp>
        <p:sp>
          <p:nvSpPr>
            <p:cNvPr id="11" name="TextBox 10">
              <a:extLst>
                <a:ext uri="{FF2B5EF4-FFF2-40B4-BE49-F238E27FC236}">
                  <a16:creationId xmlns:a16="http://schemas.microsoft.com/office/drawing/2014/main" id="{4CEE74B7-8FA4-4408-80B9-467FCA050EDB}"/>
                </a:ext>
              </a:extLst>
            </p:cNvPr>
            <p:cNvSpPr txBox="1"/>
            <p:nvPr/>
          </p:nvSpPr>
          <p:spPr>
            <a:xfrm>
              <a:off x="7183270" y="3660793"/>
              <a:ext cx="370677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Institute a Federal agency engagement and feedback model, using human-centered design principles, to allow continuous improvements and performance management of solutions</a:t>
              </a:r>
            </a:p>
          </p:txBody>
        </p:sp>
        <p:sp>
          <p:nvSpPr>
            <p:cNvPr id="6" name="TextBox 5">
              <a:extLst>
                <a:ext uri="{FF2B5EF4-FFF2-40B4-BE49-F238E27FC236}">
                  <a16:creationId xmlns:a16="http://schemas.microsoft.com/office/drawing/2014/main" id="{97F85D0A-B45C-4DA8-95BA-A539E10D8CEA}"/>
                </a:ext>
              </a:extLst>
            </p:cNvPr>
            <p:cNvSpPr txBox="1"/>
            <p:nvPr/>
          </p:nvSpPr>
          <p:spPr>
            <a:xfrm>
              <a:off x="7215186" y="5328343"/>
              <a:ext cx="35922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Drive the implementation </a:t>
              </a:r>
              <a:r>
                <a:rPr lang="en-US" sz="1200" kern="1200">
                  <a:solidFill>
                    <a:srgbClr val="FFFFFF"/>
                  </a:solidFill>
                  <a:ea typeface="+mn-ea"/>
                  <a:cs typeface="+mn-cs"/>
                </a:rPr>
                <a:t>of</a:t>
              </a: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 standards established through the collaborative governance process that produce efficiencies in process and scale</a:t>
              </a:r>
            </a:p>
          </p:txBody>
        </p:sp>
        <p:sp>
          <p:nvSpPr>
            <p:cNvPr id="37" name="Oval 36">
              <a:extLst>
                <a:ext uri="{FF2B5EF4-FFF2-40B4-BE49-F238E27FC236}">
                  <a16:creationId xmlns:a16="http://schemas.microsoft.com/office/drawing/2014/main" id="{1A9CB23A-BCCF-49C6-9836-6F703AC977DE}"/>
                </a:ext>
              </a:extLst>
            </p:cNvPr>
            <p:cNvSpPr/>
            <p:nvPr/>
          </p:nvSpPr>
          <p:spPr>
            <a:xfrm>
              <a:off x="6219451" y="5187922"/>
              <a:ext cx="914400" cy="9144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42" name="Picture 41">
            <a:extLst>
              <a:ext uri="{FF2B5EF4-FFF2-40B4-BE49-F238E27FC236}">
                <a16:creationId xmlns:a16="http://schemas.microsoft.com/office/drawing/2014/main" id="{6A3C87DF-25EA-41C7-A31F-116562D688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2615" y="3717311"/>
            <a:ext cx="822960" cy="822960"/>
          </a:xfrm>
          <a:prstGeom prst="rect">
            <a:avLst/>
          </a:prstGeom>
        </p:spPr>
      </p:pic>
      <p:pic>
        <p:nvPicPr>
          <p:cNvPr id="43" name="Picture 42">
            <a:extLst>
              <a:ext uri="{FF2B5EF4-FFF2-40B4-BE49-F238E27FC236}">
                <a16:creationId xmlns:a16="http://schemas.microsoft.com/office/drawing/2014/main" id="{843FF8BD-72D7-4B00-990E-48EF42B3AC9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16296" y="3726240"/>
            <a:ext cx="822960" cy="822960"/>
          </a:xfrm>
          <a:prstGeom prst="rect">
            <a:avLst/>
          </a:prstGeom>
        </p:spPr>
      </p:pic>
      <p:pic>
        <p:nvPicPr>
          <p:cNvPr id="44" name="Picture 43">
            <a:extLst>
              <a:ext uri="{FF2B5EF4-FFF2-40B4-BE49-F238E27FC236}">
                <a16:creationId xmlns:a16="http://schemas.microsoft.com/office/drawing/2014/main" id="{A21F6962-9D0E-46E6-99D1-9478966D6D4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10885" y="5287587"/>
            <a:ext cx="822960" cy="822960"/>
          </a:xfrm>
          <a:prstGeom prst="rect">
            <a:avLst/>
          </a:prstGeom>
        </p:spPr>
      </p:pic>
      <p:pic>
        <p:nvPicPr>
          <p:cNvPr id="46" name="Picture 45">
            <a:extLst>
              <a:ext uri="{FF2B5EF4-FFF2-40B4-BE49-F238E27FC236}">
                <a16:creationId xmlns:a16="http://schemas.microsoft.com/office/drawing/2014/main" id="{CE48E6D1-81A0-4213-8AF1-AD6E4D144D2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2042" y="5297014"/>
            <a:ext cx="822960" cy="822960"/>
          </a:xfrm>
          <a:prstGeom prst="rect">
            <a:avLst/>
          </a:prstGeom>
        </p:spPr>
      </p:pic>
      <p:sp>
        <p:nvSpPr>
          <p:cNvPr id="32" name="Title 4">
            <a:extLst>
              <a:ext uri="{FF2B5EF4-FFF2-40B4-BE49-F238E27FC236}">
                <a16:creationId xmlns:a16="http://schemas.microsoft.com/office/drawing/2014/main" id="{9D849CBA-977C-463A-9C21-5FA09F6BE1BB}"/>
              </a:ext>
            </a:extLst>
          </p:cNvPr>
          <p:cNvSpPr txBox="1">
            <a:spLocks/>
          </p:cNvSpPr>
          <p:nvPr/>
        </p:nvSpPr>
        <p:spPr>
          <a:xfrm>
            <a:off x="638355" y="317558"/>
            <a:ext cx="10938293" cy="855691"/>
          </a:xfrm>
          <a:prstGeom prst="rect">
            <a:avLst/>
          </a:prstGeom>
        </p:spPr>
        <p:txBody>
          <a:bodyPr vert="horz" lIns="91440" tIns="45720" rIns="91440" bIns="45720" rtlCol="0" anchor="ct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a:solidFill>
                  <a:srgbClr val="015089"/>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a:t>QSMOs and the M3 Playbook </a:t>
            </a:r>
          </a:p>
        </p:txBody>
      </p:sp>
      <p:sp>
        <p:nvSpPr>
          <p:cNvPr id="38" name="TextBox 37">
            <a:extLst>
              <a:ext uri="{FF2B5EF4-FFF2-40B4-BE49-F238E27FC236}">
                <a16:creationId xmlns:a16="http://schemas.microsoft.com/office/drawing/2014/main" id="{70AB8CDB-4EA4-46A0-8565-88872C3552BB}"/>
              </a:ext>
            </a:extLst>
          </p:cNvPr>
          <p:cNvSpPr txBox="1"/>
          <p:nvPr/>
        </p:nvSpPr>
        <p:spPr>
          <a:xfrm>
            <a:off x="3733800" y="6602331"/>
            <a:ext cx="4724400" cy="261610"/>
          </a:xfrm>
          <a:prstGeom prst="rect">
            <a:avLst/>
          </a:prstGeom>
          <a:noFill/>
        </p:spPr>
        <p:txBody>
          <a:bodyPr wrap="square" rtlCol="0">
            <a:spAutoFit/>
          </a:bodyPr>
          <a:lstStyle/>
          <a:p>
            <a:pPr algn="ctr"/>
            <a:r>
              <a:rPr lang="en-US" sz="1100" i="1" dirty="0">
                <a:solidFill>
                  <a:schemeClr val="bg1"/>
                </a:solidFill>
              </a:rPr>
              <a:t>- Last published June 2022 -</a:t>
            </a:r>
          </a:p>
        </p:txBody>
      </p:sp>
    </p:spTree>
    <p:extLst>
      <p:ext uri="{BB962C8B-B14F-4D97-AF65-F5344CB8AC3E}">
        <p14:creationId xmlns:p14="http://schemas.microsoft.com/office/powerpoint/2010/main" val="21700575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104C460-2D7D-4B0D-8DC3-7A6407FECB84}"/>
              </a:ext>
            </a:extLst>
          </p:cNvPr>
          <p:cNvSpPr/>
          <p:nvPr/>
        </p:nvSpPr>
        <p:spPr>
          <a:xfrm>
            <a:off x="7932419" y="76362"/>
            <a:ext cx="4255195" cy="16381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8" name="Freeform: Shape 17">
            <a:extLst>
              <a:ext uri="{FF2B5EF4-FFF2-40B4-BE49-F238E27FC236}">
                <a16:creationId xmlns:a16="http://schemas.microsoft.com/office/drawing/2014/main" id="{C330DF16-3720-497F-8616-5C216C6C9242}"/>
              </a:ext>
            </a:extLst>
          </p:cNvPr>
          <p:cNvSpPr/>
          <p:nvPr/>
        </p:nvSpPr>
        <p:spPr>
          <a:xfrm rot="5400000" flipH="1">
            <a:off x="2632280" y="-2717920"/>
            <a:ext cx="6950441" cy="12201090"/>
          </a:xfrm>
          <a:custGeom>
            <a:avLst/>
            <a:gdLst>
              <a:gd name="connsiteX0" fmla="*/ 6950441 w 6950441"/>
              <a:gd name="connsiteY0" fmla="*/ 24298 h 12201090"/>
              <a:gd name="connsiteX1" fmla="*/ 6930005 w 6950441"/>
              <a:gd name="connsiteY1" fmla="*/ 0 h 12201090"/>
              <a:gd name="connsiteX2" fmla="*/ 0 w 6950441"/>
              <a:gd name="connsiteY2" fmla="*/ 0 h 12201090"/>
              <a:gd name="connsiteX3" fmla="*/ 1381 w 6950441"/>
              <a:gd name="connsiteY3" fmla="*/ 12201082 h 12201090"/>
              <a:gd name="connsiteX4" fmla="*/ 6936426 w 6950441"/>
              <a:gd name="connsiteY4" fmla="*/ 12201090 h 12201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0441" h="12201090">
                <a:moveTo>
                  <a:pt x="6950441" y="24298"/>
                </a:moveTo>
                <a:lnTo>
                  <a:pt x="6930005" y="0"/>
                </a:lnTo>
                <a:lnTo>
                  <a:pt x="0" y="0"/>
                </a:lnTo>
                <a:lnTo>
                  <a:pt x="1381" y="12201082"/>
                </a:lnTo>
                <a:lnTo>
                  <a:pt x="6936426" y="12201090"/>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16" name="Picture 15">
            <a:extLst>
              <a:ext uri="{FF2B5EF4-FFF2-40B4-BE49-F238E27FC236}">
                <a16:creationId xmlns:a16="http://schemas.microsoft.com/office/drawing/2014/main" id="{BF22EFD6-2ED8-4117-A5EE-32625F5D3CE4}"/>
              </a:ext>
            </a:extLst>
          </p:cNvPr>
          <p:cNvPicPr>
            <a:picLocks noChangeAspect="1"/>
          </p:cNvPicPr>
          <p:nvPr/>
        </p:nvPicPr>
        <p:blipFill>
          <a:blip r:embed="rId3"/>
          <a:srcRect l="33027" t="29878"/>
          <a:stretch>
            <a:fillRect/>
          </a:stretch>
        </p:blipFill>
        <p:spPr>
          <a:xfrm rot="5400000" flipH="1">
            <a:off x="2624330" y="-2732399"/>
            <a:ext cx="6950443" cy="12208053"/>
          </a:xfrm>
          <a:custGeom>
            <a:avLst/>
            <a:gdLst>
              <a:gd name="connsiteX0" fmla="*/ 6950443 w 6950443"/>
              <a:gd name="connsiteY0" fmla="*/ 12208053 h 12208053"/>
              <a:gd name="connsiteX1" fmla="*/ 6950443 w 6950443"/>
              <a:gd name="connsiteY1" fmla="*/ 15682 h 12208053"/>
              <a:gd name="connsiteX2" fmla="*/ 6937247 w 6950443"/>
              <a:gd name="connsiteY2" fmla="*/ 0 h 12208053"/>
              <a:gd name="connsiteX3" fmla="*/ 0 w 6950443"/>
              <a:gd name="connsiteY3" fmla="*/ 0 h 12208053"/>
              <a:gd name="connsiteX4" fmla="*/ 1383 w 6950443"/>
              <a:gd name="connsiteY4" fmla="*/ 12208053 h 12208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0443" h="12208053">
                <a:moveTo>
                  <a:pt x="6950443" y="12208053"/>
                </a:moveTo>
                <a:lnTo>
                  <a:pt x="6950443" y="15682"/>
                </a:lnTo>
                <a:lnTo>
                  <a:pt x="6937247" y="0"/>
                </a:lnTo>
                <a:lnTo>
                  <a:pt x="0" y="0"/>
                </a:lnTo>
                <a:lnTo>
                  <a:pt x="1383" y="12208053"/>
                </a:lnTo>
                <a:close/>
              </a:path>
            </a:pathLst>
          </a:custGeom>
        </p:spPr>
      </p:pic>
      <p:sp>
        <p:nvSpPr>
          <p:cNvPr id="2" name="Slide Number Placeholder 1">
            <a:extLst>
              <a:ext uri="{FF2B5EF4-FFF2-40B4-BE49-F238E27FC236}">
                <a16:creationId xmlns:a16="http://schemas.microsoft.com/office/drawing/2014/main" id="{76E9D8C0-3C77-4BFE-B099-EA444B96033C}"/>
              </a:ext>
            </a:extLst>
          </p:cNvPr>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rgbClr val="FFFFFF"/>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lang="en" sz="1200" b="1" i="0"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3" name="Footer Placeholder 2">
            <a:extLst>
              <a:ext uri="{FF2B5EF4-FFF2-40B4-BE49-F238E27FC236}">
                <a16:creationId xmlns:a16="http://schemas.microsoft.com/office/drawing/2014/main" id="{CEBC9765-4EDC-4E85-8B3F-CCCC4C9D8439}"/>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dirty="0">
                <a:ln>
                  <a:noFill/>
                </a:ln>
                <a:solidFill>
                  <a:srgbClr val="FFFFFF"/>
                </a:solidFill>
                <a:effectLst/>
                <a:uLnTx/>
                <a:uFillTx/>
                <a:latin typeface="Arial"/>
                <a:cs typeface="Arial"/>
                <a:sym typeface="Arial"/>
              </a:rPr>
              <a:t>M3 Playbook Orientation</a:t>
            </a:r>
          </a:p>
        </p:txBody>
      </p:sp>
      <p:cxnSp>
        <p:nvCxnSpPr>
          <p:cNvPr id="12" name="Straight Connector 11">
            <a:extLst>
              <a:ext uri="{FF2B5EF4-FFF2-40B4-BE49-F238E27FC236}">
                <a16:creationId xmlns:a16="http://schemas.microsoft.com/office/drawing/2014/main" id="{29E51C1A-53E1-417D-9A01-D30D7AF899E5}"/>
              </a:ext>
            </a:extLst>
          </p:cNvPr>
          <p:cNvCxnSpPr>
            <a:cxnSpLocks/>
          </p:cNvCxnSpPr>
          <p:nvPr/>
        </p:nvCxnSpPr>
        <p:spPr>
          <a:xfrm flipV="1">
            <a:off x="638355" y="920145"/>
            <a:ext cx="11549259" cy="3040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2D34A273-D500-40A2-91B7-1C497B55098C}"/>
              </a:ext>
            </a:extLst>
          </p:cNvPr>
          <p:cNvSpPr>
            <a:spLocks noGrp="1"/>
          </p:cNvSpPr>
          <p:nvPr>
            <p:ph type="body" sz="quarter" idx="12"/>
          </p:nvPr>
        </p:nvSpPr>
        <p:spPr>
          <a:xfrm>
            <a:off x="638355" y="1108490"/>
            <a:ext cx="10938292" cy="1263650"/>
          </a:xfrm>
        </p:spPr>
        <p:txBody>
          <a:bodyPr>
            <a:noAutofit/>
          </a:bodyPr>
          <a:lstStyle/>
          <a:p>
            <a:r>
              <a:rPr lang="en-US" sz="1600" dirty="0">
                <a:solidFill>
                  <a:schemeClr val="bg1"/>
                </a:solidFill>
                <a:latin typeface="+mn-lt"/>
              </a:rPr>
              <a:t>Please click the play button on the laptop screen below to further explore how QSMOs can help support Federal agencies in their efforts to modernize technology, drive scale, and increase standardization and efficiency.</a:t>
            </a:r>
          </a:p>
        </p:txBody>
      </p:sp>
      <p:sp>
        <p:nvSpPr>
          <p:cNvPr id="14" name="TextBox 13">
            <a:extLst>
              <a:ext uri="{FF2B5EF4-FFF2-40B4-BE49-F238E27FC236}">
                <a16:creationId xmlns:a16="http://schemas.microsoft.com/office/drawing/2014/main" id="{6257004C-4DB7-4F5C-8753-54177AF8F468}"/>
              </a:ext>
            </a:extLst>
          </p:cNvPr>
          <p:cNvSpPr txBox="1"/>
          <p:nvPr/>
        </p:nvSpPr>
        <p:spPr>
          <a:xfrm>
            <a:off x="3733800" y="6527812"/>
            <a:ext cx="47244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1" u="none" strike="noStrike" kern="0" cap="none" spc="0" normalizeH="0" baseline="0" noProof="0" dirty="0">
                <a:ln>
                  <a:noFill/>
                </a:ln>
                <a:solidFill>
                  <a:srgbClr val="FFFFFF"/>
                </a:solidFill>
                <a:effectLst/>
                <a:uLnTx/>
                <a:uFillTx/>
                <a:latin typeface="Arial"/>
                <a:cs typeface="Arial"/>
                <a:sym typeface="Arial"/>
              </a:rPr>
              <a:t> - Last published June 2022 -</a:t>
            </a:r>
          </a:p>
        </p:txBody>
      </p:sp>
      <p:sp>
        <p:nvSpPr>
          <p:cNvPr id="5" name="Title 4">
            <a:extLst>
              <a:ext uri="{FF2B5EF4-FFF2-40B4-BE49-F238E27FC236}">
                <a16:creationId xmlns:a16="http://schemas.microsoft.com/office/drawing/2014/main" id="{F1C974B4-7A26-4ECA-BA8F-BD644EE9ED1E}"/>
              </a:ext>
            </a:extLst>
          </p:cNvPr>
          <p:cNvSpPr>
            <a:spLocks noGrp="1"/>
          </p:cNvSpPr>
          <p:nvPr>
            <p:ph type="title"/>
          </p:nvPr>
        </p:nvSpPr>
        <p:spPr>
          <a:xfrm>
            <a:off x="638355" y="330621"/>
            <a:ext cx="10938293" cy="855691"/>
          </a:xfrm>
        </p:spPr>
        <p:txBody>
          <a:bodyPr>
            <a:normAutofit/>
          </a:bodyPr>
          <a:lstStyle/>
          <a:p>
            <a:r>
              <a:rPr lang="en-US" dirty="0">
                <a:solidFill>
                  <a:schemeClr val="bg1"/>
                </a:solidFill>
              </a:rPr>
              <a:t>Quality Service Management Office (QSMO) - Video</a:t>
            </a:r>
          </a:p>
        </p:txBody>
      </p:sp>
      <p:pic>
        <p:nvPicPr>
          <p:cNvPr id="6" name="Picture 5" descr="A picture containing text&#10;&#10;Description automatically generated">
            <a:hlinkClick r:id="rId4"/>
            <a:extLst>
              <a:ext uri="{FF2B5EF4-FFF2-40B4-BE49-F238E27FC236}">
                <a16:creationId xmlns:a16="http://schemas.microsoft.com/office/drawing/2014/main" id="{3AEB4181-B182-43BC-BE7A-F80DEC8671A6}"/>
              </a:ext>
            </a:extLst>
          </p:cNvPr>
          <p:cNvPicPr>
            <a:picLocks noChangeAspect="1"/>
          </p:cNvPicPr>
          <p:nvPr/>
        </p:nvPicPr>
        <p:blipFill>
          <a:blip r:embed="rId5"/>
          <a:stretch>
            <a:fillRect/>
          </a:stretch>
        </p:blipFill>
        <p:spPr>
          <a:xfrm>
            <a:off x="1279743" y="1690763"/>
            <a:ext cx="9632515" cy="4907705"/>
          </a:xfrm>
          <a:prstGeom prst="rect">
            <a:avLst/>
          </a:prstGeom>
        </p:spPr>
      </p:pic>
      <p:grpSp>
        <p:nvGrpSpPr>
          <p:cNvPr id="17" name="Group 16">
            <a:extLst>
              <a:ext uri="{FF2B5EF4-FFF2-40B4-BE49-F238E27FC236}">
                <a16:creationId xmlns:a16="http://schemas.microsoft.com/office/drawing/2014/main" id="{7701C589-BC4E-427D-AB3A-14805E0E21F3}"/>
              </a:ext>
            </a:extLst>
          </p:cNvPr>
          <p:cNvGrpSpPr/>
          <p:nvPr/>
        </p:nvGrpSpPr>
        <p:grpSpPr>
          <a:xfrm>
            <a:off x="5364480" y="3413095"/>
            <a:ext cx="1463040" cy="1463040"/>
            <a:chOff x="7531100" y="3250950"/>
            <a:chExt cx="1463040" cy="1463040"/>
          </a:xfrm>
        </p:grpSpPr>
        <p:sp>
          <p:nvSpPr>
            <p:cNvPr id="19" name="Oval 18">
              <a:hlinkClick r:id="rId4"/>
              <a:extLst>
                <a:ext uri="{FF2B5EF4-FFF2-40B4-BE49-F238E27FC236}">
                  <a16:creationId xmlns:a16="http://schemas.microsoft.com/office/drawing/2014/main" id="{584972EA-3EB7-4777-A52E-EC80FA8A29E9}"/>
                </a:ext>
              </a:extLst>
            </p:cNvPr>
            <p:cNvSpPr/>
            <p:nvPr/>
          </p:nvSpPr>
          <p:spPr>
            <a:xfrm>
              <a:off x="7531100" y="3250950"/>
              <a:ext cx="1463040" cy="1463040"/>
            </a:xfrm>
            <a:prstGeom prst="ellipse">
              <a:avLst/>
            </a:prstGeom>
            <a:solidFill>
              <a:srgbClr val="E6E6E6">
                <a:alpha val="89000"/>
              </a:srgbClr>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22" name="Graphic 21" descr="Play">
              <a:hlinkClick r:id="rId4"/>
              <a:extLst>
                <a:ext uri="{FF2B5EF4-FFF2-40B4-BE49-F238E27FC236}">
                  <a16:creationId xmlns:a16="http://schemas.microsoft.com/office/drawing/2014/main" id="{2D705949-21D0-4E4D-92C6-9993588059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56220" y="3525270"/>
              <a:ext cx="914400" cy="914400"/>
            </a:xfrm>
            <a:prstGeom prst="rect">
              <a:avLst/>
            </a:prstGeom>
          </p:spPr>
        </p:pic>
      </p:grpSp>
    </p:spTree>
    <p:extLst>
      <p:ext uri="{BB962C8B-B14F-4D97-AF65-F5344CB8AC3E}">
        <p14:creationId xmlns:p14="http://schemas.microsoft.com/office/powerpoint/2010/main" val="1511748976"/>
      </p:ext>
    </p:extLst>
  </p:cSld>
  <p:clrMapOvr>
    <a:masterClrMapping/>
  </p:clrMapOvr>
  <p:timing>
    <p:tnLst>
      <p:par>
        <p:cTn id="1" dur="indefinite" restart="never" nodeType="tmRoot">
          <p:childTnLst>
            <p:par>
              <p:cTn id="2"/>
            </p:par>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C986916-4898-42D8-BE0F-F57902B3A185}"/>
              </a:ext>
            </a:extLst>
          </p:cNvPr>
          <p:cNvSpPr/>
          <p:nvPr/>
        </p:nvSpPr>
        <p:spPr>
          <a:xfrm>
            <a:off x="345440" y="6150314"/>
            <a:ext cx="1676400" cy="6161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Picture 51">
            <a:extLst>
              <a:ext uri="{FF2B5EF4-FFF2-40B4-BE49-F238E27FC236}">
                <a16:creationId xmlns:a16="http://schemas.microsoft.com/office/drawing/2014/main" id="{772AB7CF-B731-4278-865D-55E724B256DC}"/>
              </a:ext>
            </a:extLst>
          </p:cNvPr>
          <p:cNvPicPr>
            <a:picLocks noChangeAspect="1"/>
          </p:cNvPicPr>
          <p:nvPr/>
        </p:nvPicPr>
        <p:blipFill>
          <a:blip r:embed="rId3"/>
          <a:stretch>
            <a:fillRect/>
          </a:stretch>
        </p:blipFill>
        <p:spPr>
          <a:xfrm>
            <a:off x="-5055" y="1930222"/>
            <a:ext cx="12192000" cy="4495800"/>
          </a:xfrm>
          <a:prstGeom prst="rect">
            <a:avLst/>
          </a:prstGeom>
        </p:spPr>
      </p:pic>
      <p:sp>
        <p:nvSpPr>
          <p:cNvPr id="5" name="Title 4">
            <a:extLst>
              <a:ext uri="{FF2B5EF4-FFF2-40B4-BE49-F238E27FC236}">
                <a16:creationId xmlns:a16="http://schemas.microsoft.com/office/drawing/2014/main" id="{815B8620-B818-48E2-B90E-BBF1527C53A0}"/>
              </a:ext>
            </a:extLst>
          </p:cNvPr>
          <p:cNvSpPr>
            <a:spLocks noGrp="1"/>
          </p:cNvSpPr>
          <p:nvPr>
            <p:ph type="title"/>
          </p:nvPr>
        </p:nvSpPr>
        <p:spPr>
          <a:xfrm>
            <a:off x="615352" y="315873"/>
            <a:ext cx="10938293" cy="855691"/>
          </a:xfrm>
        </p:spPr>
        <p:txBody>
          <a:bodyPr>
            <a:noAutofit/>
          </a:bodyPr>
          <a:lstStyle/>
          <a:p>
            <a:r>
              <a:rPr lang="en-US"/>
              <a:t>M3 Playbook Intended Use</a:t>
            </a:r>
          </a:p>
        </p:txBody>
      </p:sp>
      <p:sp>
        <p:nvSpPr>
          <p:cNvPr id="4" name="Slide Number Placeholder 3">
            <a:extLst>
              <a:ext uri="{FF2B5EF4-FFF2-40B4-BE49-F238E27FC236}">
                <a16:creationId xmlns:a16="http://schemas.microsoft.com/office/drawing/2014/main" id="{CEFDB066-0E1A-4A4E-BA4A-36064F7739E4}"/>
              </a:ext>
            </a:extLst>
          </p:cNvPr>
          <p:cNvSpPr>
            <a:spLocks noGrp="1"/>
          </p:cNvSpPr>
          <p:nvPr>
            <p:ph type="sldNum" idx="10"/>
          </p:nvPr>
        </p:nvSpPr>
        <p:spPr>
          <a:xfrm>
            <a:off x="11228831" y="6241807"/>
            <a:ext cx="731600" cy="524700"/>
          </a:xfrm>
        </p:spPr>
        <p:txBody>
          <a:bodyPr/>
          <a:lstStyle/>
          <a:p>
            <a:fld id="{00000000-1234-1234-1234-123412341234}" type="slidenum">
              <a:rPr lang="en" smtClean="0"/>
              <a:pPr/>
              <a:t>12</a:t>
            </a:fld>
            <a:endParaRPr lang="en"/>
          </a:p>
        </p:txBody>
      </p:sp>
      <p:sp>
        <p:nvSpPr>
          <p:cNvPr id="6" name="Text Placeholder 7">
            <a:extLst>
              <a:ext uri="{FF2B5EF4-FFF2-40B4-BE49-F238E27FC236}">
                <a16:creationId xmlns:a16="http://schemas.microsoft.com/office/drawing/2014/main" id="{71D6430A-721A-4065-9EC4-5BA2877FCC8D}"/>
              </a:ext>
            </a:extLst>
          </p:cNvPr>
          <p:cNvSpPr>
            <a:spLocks noGrp="1"/>
          </p:cNvSpPr>
          <p:nvPr>
            <p:ph type="body" sz="quarter" idx="12"/>
          </p:nvPr>
        </p:nvSpPr>
        <p:spPr>
          <a:xfrm>
            <a:off x="638355" y="1029463"/>
            <a:ext cx="11459398" cy="1058711"/>
          </a:xfrm>
        </p:spPr>
        <p:txBody>
          <a:bodyPr>
            <a:noAutofit/>
          </a:bodyPr>
          <a:lstStyle/>
          <a:p>
            <a:r>
              <a:rPr lang="en-US" sz="1600"/>
              <a:t>Designed as a flexible guide to increase the likelihood of success as Federal agencies modernize and migrate their mission support functions, the M3 Playbook can be used as a role-based, step by step process document, or as a reference guide depending on customer and stakeholder needs.</a:t>
            </a:r>
          </a:p>
        </p:txBody>
      </p:sp>
      <p:sp>
        <p:nvSpPr>
          <p:cNvPr id="17" name="Footer Placeholder 2">
            <a:extLst>
              <a:ext uri="{FF2B5EF4-FFF2-40B4-BE49-F238E27FC236}">
                <a16:creationId xmlns:a16="http://schemas.microsoft.com/office/drawing/2014/main" id="{0CB2525A-B960-4F7E-8B45-DC14DA0BD87C}"/>
              </a:ext>
            </a:extLst>
          </p:cNvPr>
          <p:cNvSpPr>
            <a:spLocks noGrp="1"/>
          </p:cNvSpPr>
          <p:nvPr>
            <p:ph type="ftr" sz="quarter" idx="11"/>
          </p:nvPr>
        </p:nvSpPr>
        <p:spPr>
          <a:xfrm>
            <a:off x="8077200" y="76362"/>
            <a:ext cx="3499448" cy="254259"/>
          </a:xfrm>
        </p:spPr>
        <p:txBody>
          <a:bodyPr/>
          <a:lstStyle/>
          <a:p>
            <a:pPr lvl="0">
              <a:defRPr/>
            </a:pPr>
            <a:r>
              <a:rPr lang="en-US"/>
              <a:t>M3 Playbook Orientation</a:t>
            </a:r>
          </a:p>
        </p:txBody>
      </p:sp>
      <p:grpSp>
        <p:nvGrpSpPr>
          <p:cNvPr id="7" name="Group 6">
            <a:extLst>
              <a:ext uri="{FF2B5EF4-FFF2-40B4-BE49-F238E27FC236}">
                <a16:creationId xmlns:a16="http://schemas.microsoft.com/office/drawing/2014/main" id="{4A5E0CDB-709E-4DA8-BA16-8B2FB7BC212F}"/>
              </a:ext>
            </a:extLst>
          </p:cNvPr>
          <p:cNvGrpSpPr/>
          <p:nvPr/>
        </p:nvGrpSpPr>
        <p:grpSpPr>
          <a:xfrm>
            <a:off x="0" y="2573728"/>
            <a:ext cx="12247950" cy="3668079"/>
            <a:chOff x="-10711" y="3489960"/>
            <a:chExt cx="12247950" cy="3668079"/>
          </a:xfrm>
        </p:grpSpPr>
        <p:pic>
          <p:nvPicPr>
            <p:cNvPr id="27" name="Line-24">
              <a:extLst>
                <a:ext uri="{FF2B5EF4-FFF2-40B4-BE49-F238E27FC236}">
                  <a16:creationId xmlns:a16="http://schemas.microsoft.com/office/drawing/2014/main" id="{9C43A70E-F0C7-4888-B359-185CD733EE72}"/>
                </a:ext>
              </a:extLst>
            </p:cNvPr>
            <p:cNvPicPr/>
            <p:nvPr/>
          </p:nvPicPr>
          <p:blipFill rotWithShape="1">
            <a:blip r:embed="rId4"/>
            <a:stretch>
              <a:fillRect/>
            </a:stretch>
          </p:blipFill>
          <p:spPr>
            <a:xfrm rot="5400000">
              <a:off x="644179" y="5324476"/>
              <a:ext cx="3619500" cy="47625"/>
            </a:xfrm>
            <a:prstGeom prst="rect">
              <a:avLst/>
            </a:prstGeom>
          </p:spPr>
        </p:pic>
        <p:pic>
          <p:nvPicPr>
            <p:cNvPr id="28" name="Line-24">
              <a:extLst>
                <a:ext uri="{FF2B5EF4-FFF2-40B4-BE49-F238E27FC236}">
                  <a16:creationId xmlns:a16="http://schemas.microsoft.com/office/drawing/2014/main" id="{CEF0B609-D262-4D22-A9C9-606DD9B22E91}"/>
                </a:ext>
              </a:extLst>
            </p:cNvPr>
            <p:cNvPicPr/>
            <p:nvPr/>
          </p:nvPicPr>
          <p:blipFill rotWithShape="1">
            <a:blip r:embed="rId4"/>
            <a:stretch>
              <a:fillRect/>
            </a:stretch>
          </p:blipFill>
          <p:spPr>
            <a:xfrm rot="5400000">
              <a:off x="5524880" y="5280080"/>
              <a:ext cx="3619500" cy="45719"/>
            </a:xfrm>
            <a:prstGeom prst="rect">
              <a:avLst/>
            </a:prstGeom>
          </p:spPr>
        </p:pic>
        <p:sp>
          <p:nvSpPr>
            <p:cNvPr id="38" name="Body text copy">
              <a:extLst>
                <a:ext uri="{FF2B5EF4-FFF2-40B4-BE49-F238E27FC236}">
                  <a16:creationId xmlns:a16="http://schemas.microsoft.com/office/drawing/2014/main" id="{EA19316A-2263-4434-AB07-9742A599305B}"/>
                </a:ext>
              </a:extLst>
            </p:cNvPr>
            <p:cNvSpPr/>
            <p:nvPr/>
          </p:nvSpPr>
          <p:spPr>
            <a:xfrm>
              <a:off x="161394" y="4616870"/>
              <a:ext cx="2236189" cy="2169214"/>
            </a:xfrm>
            <a:prstGeom prst="rect">
              <a:avLst/>
            </a:prstGeom>
          </p:spPr>
          <p:txBody>
            <a:bodyPr spcFirstLastPara="0" lIns="95250" tIns="95250" rIns="95250" bIns="0" anchor="t"/>
            <a:lstStyle/>
            <a:p>
              <a:pPr algn="ctr" hangingPunct="0">
                <a:lnSpc>
                  <a:spcPct val="125000"/>
                </a:lnSpc>
                <a:spcBef>
                  <a:spcPts val="1200"/>
                </a:spcBef>
              </a:pPr>
              <a:r>
                <a:rPr lang="en-US" sz="1350" dirty="0">
                  <a:solidFill>
                    <a:schemeClr val="bg1"/>
                  </a:solidFill>
                  <a:latin typeface="Arial" panose="020B0604020202020204" pitchFamily="34" charset="0"/>
                  <a:cs typeface="Arial" panose="020B0604020202020204" pitchFamily="34" charset="0"/>
                </a:rPr>
                <a:t>Agency executives to project managers leverage the M3 Playbook to develop an understanding of how to approach and execute a shared services modernization project</a:t>
              </a:r>
              <a:endParaRPr lang="en-US" sz="1350" dirty="0">
                <a:solidFill>
                  <a:schemeClr val="bg1"/>
                </a:solidFill>
                <a:latin typeface="Abel"/>
                <a:ea typeface="+mn-ea"/>
                <a:cs typeface="Abel"/>
              </a:endParaRPr>
            </a:p>
          </p:txBody>
        </p:sp>
        <p:sp>
          <p:nvSpPr>
            <p:cNvPr id="39" name="Body text copy">
              <a:extLst>
                <a:ext uri="{FF2B5EF4-FFF2-40B4-BE49-F238E27FC236}">
                  <a16:creationId xmlns:a16="http://schemas.microsoft.com/office/drawing/2014/main" id="{6A5CA4EF-74A6-4DCE-82C1-DE267E3C6169}"/>
                </a:ext>
              </a:extLst>
            </p:cNvPr>
            <p:cNvSpPr/>
            <p:nvPr/>
          </p:nvSpPr>
          <p:spPr>
            <a:xfrm>
              <a:off x="88459" y="3489960"/>
              <a:ext cx="2381250" cy="676275"/>
            </a:xfrm>
            <a:prstGeom prst="rect">
              <a:avLst/>
            </a:prstGeom>
          </p:spPr>
          <p:txBody>
            <a:bodyPr spcFirstLastPara="0" lIns="95250" tIns="95250" rIns="95250" bIns="0" anchor="t"/>
            <a:lstStyle/>
            <a:p>
              <a:pPr algn="ctr"/>
              <a:r>
                <a:rPr lang="en-US" sz="2000" b="1">
                  <a:solidFill>
                    <a:schemeClr val="bg1"/>
                  </a:solidFill>
                  <a:latin typeface="Arial" panose="020B0604020202020204" pitchFamily="34" charset="0"/>
                  <a:cs typeface="Arial" panose="020B0604020202020204" pitchFamily="34" charset="0"/>
                </a:rPr>
                <a:t>Federal</a:t>
              </a:r>
            </a:p>
            <a:p>
              <a:pPr algn="ctr"/>
              <a:r>
                <a:rPr lang="en-US" sz="2000" b="1">
                  <a:solidFill>
                    <a:schemeClr val="bg1"/>
                  </a:solidFill>
                  <a:latin typeface="Arial" panose="020B0604020202020204" pitchFamily="34" charset="0"/>
                  <a:cs typeface="Arial" panose="020B0604020202020204" pitchFamily="34" charset="0"/>
                </a:rPr>
                <a:t> Agencies</a:t>
              </a:r>
            </a:p>
          </p:txBody>
        </p:sp>
        <p:pic>
          <p:nvPicPr>
            <p:cNvPr id="40" name="Line-24">
              <a:extLst>
                <a:ext uri="{FF2B5EF4-FFF2-40B4-BE49-F238E27FC236}">
                  <a16:creationId xmlns:a16="http://schemas.microsoft.com/office/drawing/2014/main" id="{800F35B7-6115-4FB7-B320-9DD832E1D3EE}"/>
                </a:ext>
              </a:extLst>
            </p:cNvPr>
            <p:cNvPicPr/>
            <p:nvPr/>
          </p:nvPicPr>
          <p:blipFill rotWithShape="1">
            <a:blip r:embed="rId4"/>
            <a:stretch>
              <a:fillRect/>
            </a:stretch>
          </p:blipFill>
          <p:spPr>
            <a:xfrm rot="5400000">
              <a:off x="3085006" y="5279128"/>
              <a:ext cx="3619500" cy="47625"/>
            </a:xfrm>
            <a:prstGeom prst="rect">
              <a:avLst/>
            </a:prstGeom>
          </p:spPr>
        </p:pic>
        <p:pic>
          <p:nvPicPr>
            <p:cNvPr id="41" name="Line-24">
              <a:extLst>
                <a:ext uri="{FF2B5EF4-FFF2-40B4-BE49-F238E27FC236}">
                  <a16:creationId xmlns:a16="http://schemas.microsoft.com/office/drawing/2014/main" id="{671B5AC0-1091-4F28-AE4D-EE0E0F3429CC}"/>
                </a:ext>
              </a:extLst>
            </p:cNvPr>
            <p:cNvPicPr/>
            <p:nvPr/>
          </p:nvPicPr>
          <p:blipFill rotWithShape="1">
            <a:blip r:embed="rId4"/>
            <a:stretch>
              <a:fillRect/>
            </a:stretch>
          </p:blipFill>
          <p:spPr>
            <a:xfrm rot="5400000">
              <a:off x="7963801" y="5280081"/>
              <a:ext cx="3619500" cy="45719"/>
            </a:xfrm>
            <a:prstGeom prst="rect">
              <a:avLst/>
            </a:prstGeom>
          </p:spPr>
        </p:pic>
        <p:sp>
          <p:nvSpPr>
            <p:cNvPr id="42" name="Body text copy">
              <a:extLst>
                <a:ext uri="{FF2B5EF4-FFF2-40B4-BE49-F238E27FC236}">
                  <a16:creationId xmlns:a16="http://schemas.microsoft.com/office/drawing/2014/main" id="{58CF0FE8-AC33-49B2-B04B-DF34A4C5E135}"/>
                </a:ext>
              </a:extLst>
            </p:cNvPr>
            <p:cNvSpPr/>
            <p:nvPr/>
          </p:nvSpPr>
          <p:spPr>
            <a:xfrm>
              <a:off x="2591292" y="4616870"/>
              <a:ext cx="2236189" cy="2169214"/>
            </a:xfrm>
            <a:prstGeom prst="rect">
              <a:avLst/>
            </a:prstGeom>
          </p:spPr>
          <p:txBody>
            <a:bodyPr spcFirstLastPara="0" lIns="95250" tIns="95250" rIns="95250" bIns="0" anchor="t"/>
            <a:lstStyle/>
            <a:p>
              <a:pPr algn="ctr" hangingPunct="0">
                <a:lnSpc>
                  <a:spcPct val="125000"/>
                </a:lnSpc>
                <a:spcBef>
                  <a:spcPts val="1200"/>
                </a:spcBef>
              </a:pPr>
              <a:r>
                <a:rPr lang="en-US" sz="1350" dirty="0">
                  <a:solidFill>
                    <a:schemeClr val="bg1"/>
                  </a:solidFill>
                  <a:latin typeface="Arial" panose="020B0604020202020204" pitchFamily="34" charset="0"/>
                  <a:cs typeface="Arial" panose="020B0604020202020204" pitchFamily="34" charset="0"/>
                </a:rPr>
                <a:t>Provides a reference tool when guiding Federal agencies through the shared services migration process</a:t>
              </a:r>
            </a:p>
          </p:txBody>
        </p:sp>
        <p:sp>
          <p:nvSpPr>
            <p:cNvPr id="43" name="Body text copy">
              <a:extLst>
                <a:ext uri="{FF2B5EF4-FFF2-40B4-BE49-F238E27FC236}">
                  <a16:creationId xmlns:a16="http://schemas.microsoft.com/office/drawing/2014/main" id="{6731E9A1-3676-457C-B0A5-D8B0137DD588}"/>
                </a:ext>
              </a:extLst>
            </p:cNvPr>
            <p:cNvSpPr/>
            <p:nvPr/>
          </p:nvSpPr>
          <p:spPr>
            <a:xfrm>
              <a:off x="2314914" y="3489960"/>
              <a:ext cx="2684319" cy="1352157"/>
            </a:xfrm>
            <a:prstGeom prst="rect">
              <a:avLst/>
            </a:prstGeom>
          </p:spPr>
          <p:txBody>
            <a:bodyPr spcFirstLastPara="0" lIns="95250" tIns="95250" rIns="95250" bIns="0" anchor="t"/>
            <a:lstStyle/>
            <a:p>
              <a:pPr algn="ctr"/>
              <a:r>
                <a:rPr lang="en-US" sz="2000" b="1">
                  <a:solidFill>
                    <a:schemeClr val="bg1"/>
                  </a:solidFill>
                  <a:latin typeface="Arial" panose="020B0604020202020204" pitchFamily="34" charset="0"/>
                  <a:cs typeface="Arial" panose="020B0604020202020204" pitchFamily="34" charset="0"/>
                </a:rPr>
                <a:t>Shared Services   Providers </a:t>
              </a:r>
            </a:p>
          </p:txBody>
        </p:sp>
        <p:sp>
          <p:nvSpPr>
            <p:cNvPr id="44" name="Body text copy">
              <a:extLst>
                <a:ext uri="{FF2B5EF4-FFF2-40B4-BE49-F238E27FC236}">
                  <a16:creationId xmlns:a16="http://schemas.microsoft.com/office/drawing/2014/main" id="{845D4F34-A6D9-40CA-A937-C203C8728289}"/>
                </a:ext>
              </a:extLst>
            </p:cNvPr>
            <p:cNvSpPr/>
            <p:nvPr/>
          </p:nvSpPr>
          <p:spPr>
            <a:xfrm>
              <a:off x="5039579" y="4557643"/>
              <a:ext cx="2152228" cy="2169214"/>
            </a:xfrm>
            <a:prstGeom prst="rect">
              <a:avLst/>
            </a:prstGeom>
          </p:spPr>
          <p:txBody>
            <a:bodyPr spcFirstLastPara="0" lIns="95250" tIns="95250" rIns="95250" bIns="0" anchor="t"/>
            <a:lstStyle/>
            <a:p>
              <a:pPr algn="ctr" hangingPunct="0">
                <a:lnSpc>
                  <a:spcPct val="125000"/>
                </a:lnSpc>
                <a:spcBef>
                  <a:spcPts val="1200"/>
                </a:spcBef>
              </a:pPr>
              <a:r>
                <a:rPr lang="en-US" sz="1350" dirty="0">
                  <a:solidFill>
                    <a:schemeClr val="bg1"/>
                  </a:solidFill>
                  <a:latin typeface="Arial" panose="020B0604020202020204" pitchFamily="34" charset="0"/>
                  <a:cs typeface="Arial" panose="020B0604020202020204" pitchFamily="34" charset="0"/>
                </a:rPr>
                <a:t>Provides a consistent format for Federal agencies to communicate updates during the Investment Planning process and throughout modernization initiatives</a:t>
              </a:r>
            </a:p>
          </p:txBody>
        </p:sp>
        <p:sp>
          <p:nvSpPr>
            <p:cNvPr id="45" name="Body text copy">
              <a:extLst>
                <a:ext uri="{FF2B5EF4-FFF2-40B4-BE49-F238E27FC236}">
                  <a16:creationId xmlns:a16="http://schemas.microsoft.com/office/drawing/2014/main" id="{45E1F034-AA8C-487D-9FF3-F3F5D346C798}"/>
                </a:ext>
              </a:extLst>
            </p:cNvPr>
            <p:cNvSpPr/>
            <p:nvPr/>
          </p:nvSpPr>
          <p:spPr>
            <a:xfrm>
              <a:off x="4901852" y="3489960"/>
              <a:ext cx="2381250" cy="676275"/>
            </a:xfrm>
            <a:prstGeom prst="rect">
              <a:avLst/>
            </a:prstGeom>
          </p:spPr>
          <p:txBody>
            <a:bodyPr spcFirstLastPara="0" lIns="95250" tIns="95250" rIns="95250" bIns="0" anchor="t"/>
            <a:lstStyle/>
            <a:p>
              <a:pPr algn="ctr"/>
              <a:r>
                <a:rPr lang="en-US" sz="2000" b="1">
                  <a:solidFill>
                    <a:schemeClr val="bg1"/>
                  </a:solidFill>
                  <a:latin typeface="Arial" panose="020B0604020202020204" pitchFamily="34" charset="0"/>
                  <a:cs typeface="Arial" panose="020B0604020202020204" pitchFamily="34" charset="0"/>
                </a:rPr>
                <a:t>OMB</a:t>
              </a:r>
            </a:p>
          </p:txBody>
        </p:sp>
        <p:sp>
          <p:nvSpPr>
            <p:cNvPr id="46" name="Body text copy">
              <a:extLst>
                <a:ext uri="{FF2B5EF4-FFF2-40B4-BE49-F238E27FC236}">
                  <a16:creationId xmlns:a16="http://schemas.microsoft.com/office/drawing/2014/main" id="{CCDE82F4-4F84-4F35-94F3-43DD7828C525}"/>
                </a:ext>
              </a:extLst>
            </p:cNvPr>
            <p:cNvSpPr/>
            <p:nvPr/>
          </p:nvSpPr>
          <p:spPr>
            <a:xfrm>
              <a:off x="7488462" y="4616870"/>
              <a:ext cx="2164020" cy="2169214"/>
            </a:xfrm>
            <a:prstGeom prst="rect">
              <a:avLst/>
            </a:prstGeom>
          </p:spPr>
          <p:txBody>
            <a:bodyPr spcFirstLastPara="0" lIns="95250" tIns="95250" rIns="95250" bIns="0" anchor="t"/>
            <a:lstStyle/>
            <a:p>
              <a:pPr algn="ctr" hangingPunct="0">
                <a:lnSpc>
                  <a:spcPct val="125000"/>
                </a:lnSpc>
                <a:spcBef>
                  <a:spcPts val="1200"/>
                </a:spcBef>
              </a:pPr>
              <a:r>
                <a:rPr lang="en-US" sz="1350" dirty="0">
                  <a:solidFill>
                    <a:schemeClr val="bg1"/>
                  </a:solidFill>
                  <a:latin typeface="Arial" panose="020B0604020202020204" pitchFamily="34" charset="0"/>
                  <a:cs typeface="Arial" panose="020B0604020202020204" pitchFamily="34" charset="0"/>
                </a:rPr>
                <a:t>Plays a facilitation and coordination role building awareness and increased use of the M3</a:t>
              </a:r>
              <a:endParaRPr lang="en-US" sz="1350" dirty="0">
                <a:solidFill>
                  <a:schemeClr val="bg1"/>
                </a:solidFill>
                <a:latin typeface="Arial" panose="020B0604020202020204" pitchFamily="34" charset="0"/>
                <a:ea typeface="+mn-ea"/>
                <a:cs typeface="Arial" panose="020B0604020202020204" pitchFamily="34" charset="0"/>
              </a:endParaRPr>
            </a:p>
          </p:txBody>
        </p:sp>
        <p:sp>
          <p:nvSpPr>
            <p:cNvPr id="47" name="Body text copy">
              <a:extLst>
                <a:ext uri="{FF2B5EF4-FFF2-40B4-BE49-F238E27FC236}">
                  <a16:creationId xmlns:a16="http://schemas.microsoft.com/office/drawing/2014/main" id="{324948D7-FA3B-44BD-A30E-707222276B6E}"/>
                </a:ext>
              </a:extLst>
            </p:cNvPr>
            <p:cNvSpPr/>
            <p:nvPr/>
          </p:nvSpPr>
          <p:spPr>
            <a:xfrm>
              <a:off x="7350969" y="3489960"/>
              <a:ext cx="2381250" cy="676275"/>
            </a:xfrm>
            <a:prstGeom prst="rect">
              <a:avLst/>
            </a:prstGeom>
          </p:spPr>
          <p:txBody>
            <a:bodyPr spcFirstLastPara="0" lIns="95250" tIns="95250" rIns="95250" bIns="0" anchor="t"/>
            <a:lstStyle/>
            <a:p>
              <a:pPr algn="ctr" hangingPunct="0">
                <a:lnSpc>
                  <a:spcPct val="125000"/>
                </a:lnSpc>
              </a:pPr>
              <a:r>
                <a:rPr lang="en-US" sz="2000" b="1">
                  <a:solidFill>
                    <a:schemeClr val="bg1"/>
                  </a:solidFill>
                  <a:latin typeface="Arial" panose="020B0604020202020204" pitchFamily="34" charset="0"/>
                  <a:cs typeface="Arial" panose="020B0604020202020204" pitchFamily="34" charset="0"/>
                </a:rPr>
                <a:t>OSSPI</a:t>
              </a:r>
            </a:p>
          </p:txBody>
        </p:sp>
        <p:sp>
          <p:nvSpPr>
            <p:cNvPr id="48" name="Body text copy">
              <a:extLst>
                <a:ext uri="{FF2B5EF4-FFF2-40B4-BE49-F238E27FC236}">
                  <a16:creationId xmlns:a16="http://schemas.microsoft.com/office/drawing/2014/main" id="{EFF74947-9BA8-4F35-9E3D-13F85F091D77}"/>
                </a:ext>
              </a:extLst>
            </p:cNvPr>
            <p:cNvSpPr/>
            <p:nvPr/>
          </p:nvSpPr>
          <p:spPr>
            <a:xfrm>
              <a:off x="9898393" y="4616870"/>
              <a:ext cx="2277841" cy="2169214"/>
            </a:xfrm>
            <a:prstGeom prst="rect">
              <a:avLst/>
            </a:prstGeom>
          </p:spPr>
          <p:txBody>
            <a:bodyPr spcFirstLastPara="0" lIns="95250" tIns="95250" rIns="95250" bIns="0" anchor="t"/>
            <a:lstStyle/>
            <a:p>
              <a:pPr algn="ctr" hangingPunct="0">
                <a:lnSpc>
                  <a:spcPct val="125000"/>
                </a:lnSpc>
                <a:spcBef>
                  <a:spcPts val="1200"/>
                </a:spcBef>
              </a:pPr>
              <a:r>
                <a:rPr lang="en-US" sz="1350" dirty="0">
                  <a:solidFill>
                    <a:schemeClr val="bg1"/>
                  </a:solidFill>
                  <a:latin typeface="Arial" panose="020B0604020202020204" pitchFamily="34" charset="0"/>
                  <a:cs typeface="Arial" panose="020B0604020202020204" pitchFamily="34" charset="0"/>
                </a:rPr>
                <a:t>QSMOs use M3 to partner with Federal agencies throughout all phases of their modernization journeys</a:t>
              </a:r>
            </a:p>
          </p:txBody>
        </p:sp>
        <p:sp>
          <p:nvSpPr>
            <p:cNvPr id="49" name="Body text copy">
              <a:extLst>
                <a:ext uri="{FF2B5EF4-FFF2-40B4-BE49-F238E27FC236}">
                  <a16:creationId xmlns:a16="http://schemas.microsoft.com/office/drawing/2014/main" id="{0BB0E5F5-57CF-47BB-92AF-6566888DC947}"/>
                </a:ext>
              </a:extLst>
            </p:cNvPr>
            <p:cNvSpPr/>
            <p:nvPr/>
          </p:nvSpPr>
          <p:spPr>
            <a:xfrm>
              <a:off x="9808362" y="3489960"/>
              <a:ext cx="2381250" cy="676275"/>
            </a:xfrm>
            <a:prstGeom prst="rect">
              <a:avLst/>
            </a:prstGeom>
          </p:spPr>
          <p:txBody>
            <a:bodyPr spcFirstLastPara="0" lIns="95250" tIns="95250" rIns="95250" bIns="0" anchor="t"/>
            <a:lstStyle/>
            <a:p>
              <a:pPr algn="ctr"/>
              <a:r>
                <a:rPr lang="en-US" sz="2000" b="1">
                  <a:solidFill>
                    <a:schemeClr val="bg1"/>
                  </a:solidFill>
                  <a:latin typeface="Arial" panose="020B0604020202020204" pitchFamily="34" charset="0"/>
                  <a:cs typeface="Arial" panose="020B0604020202020204" pitchFamily="34" charset="0"/>
                </a:rPr>
                <a:t>QSMOs</a:t>
              </a:r>
            </a:p>
          </p:txBody>
        </p:sp>
        <p:pic>
          <p:nvPicPr>
            <p:cNvPr id="50" name="Line-24">
              <a:extLst>
                <a:ext uri="{FF2B5EF4-FFF2-40B4-BE49-F238E27FC236}">
                  <a16:creationId xmlns:a16="http://schemas.microsoft.com/office/drawing/2014/main" id="{1551D934-0D09-4284-82FC-CBCA7002DAE1}"/>
                </a:ext>
              </a:extLst>
            </p:cNvPr>
            <p:cNvPicPr/>
            <p:nvPr/>
          </p:nvPicPr>
          <p:blipFill rotWithShape="1">
            <a:blip r:embed="rId4"/>
            <a:stretch>
              <a:fillRect/>
            </a:stretch>
          </p:blipFill>
          <p:spPr>
            <a:xfrm rot="5400000">
              <a:off x="-1796648" y="5279127"/>
              <a:ext cx="3619500" cy="47625"/>
            </a:xfrm>
            <a:prstGeom prst="rect">
              <a:avLst/>
            </a:prstGeom>
          </p:spPr>
        </p:pic>
        <p:pic>
          <p:nvPicPr>
            <p:cNvPr id="51" name="Line-24">
              <a:extLst>
                <a:ext uri="{FF2B5EF4-FFF2-40B4-BE49-F238E27FC236}">
                  <a16:creationId xmlns:a16="http://schemas.microsoft.com/office/drawing/2014/main" id="{29160304-77A8-4D3B-A2DC-66EBB2B4C5AF}"/>
                </a:ext>
              </a:extLst>
            </p:cNvPr>
            <p:cNvPicPr/>
            <p:nvPr/>
          </p:nvPicPr>
          <p:blipFill rotWithShape="1">
            <a:blip r:embed="rId4"/>
            <a:stretch>
              <a:fillRect/>
            </a:stretch>
          </p:blipFill>
          <p:spPr>
            <a:xfrm rot="5400000">
              <a:off x="10403677" y="5279127"/>
              <a:ext cx="3619500" cy="47625"/>
            </a:xfrm>
            <a:prstGeom prst="rect">
              <a:avLst/>
            </a:prstGeom>
          </p:spPr>
        </p:pic>
      </p:grpSp>
      <p:sp>
        <p:nvSpPr>
          <p:cNvPr id="25" name="TextBox 24">
            <a:extLst>
              <a:ext uri="{FF2B5EF4-FFF2-40B4-BE49-F238E27FC236}">
                <a16:creationId xmlns:a16="http://schemas.microsoft.com/office/drawing/2014/main" id="{03DA6CF8-4670-41BF-A333-6731FDA41032}"/>
              </a:ext>
            </a:extLst>
          </p:cNvPr>
          <p:cNvSpPr txBox="1"/>
          <p:nvPr/>
        </p:nvSpPr>
        <p:spPr>
          <a:xfrm>
            <a:off x="3733800" y="6527812"/>
            <a:ext cx="4724400" cy="261610"/>
          </a:xfrm>
          <a:prstGeom prst="rect">
            <a:avLst/>
          </a:prstGeom>
          <a:noFill/>
        </p:spPr>
        <p:txBody>
          <a:bodyPr wrap="square" rtlCol="0">
            <a:spAutoFit/>
          </a:bodyPr>
          <a:lstStyle/>
          <a:p>
            <a:pPr algn="ctr"/>
            <a:r>
              <a:rPr lang="en-US" sz="1100" i="1" dirty="0">
                <a:solidFill>
                  <a:schemeClr val="tx1"/>
                </a:solidFill>
              </a:rPr>
              <a:t>- Last published June 2022 -</a:t>
            </a:r>
          </a:p>
        </p:txBody>
      </p:sp>
    </p:spTree>
    <p:extLst>
      <p:ext uri="{BB962C8B-B14F-4D97-AF65-F5344CB8AC3E}">
        <p14:creationId xmlns:p14="http://schemas.microsoft.com/office/powerpoint/2010/main" val="8503819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5F6F69-D716-4080-B52B-E90D30FC977E}"/>
              </a:ext>
            </a:extLst>
          </p:cNvPr>
          <p:cNvSpPr/>
          <p:nvPr/>
        </p:nvSpPr>
        <p:spPr>
          <a:xfrm>
            <a:off x="444137" y="5982788"/>
            <a:ext cx="1397726" cy="8556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737FA33C-3238-413B-887F-94EBF589466B}"/>
              </a:ext>
            </a:extLst>
          </p:cNvPr>
          <p:cNvSpPr>
            <a:spLocks noGrp="1"/>
          </p:cNvSpPr>
          <p:nvPr>
            <p:ph type="sldNum" idx="10"/>
          </p:nvPr>
        </p:nvSpPr>
        <p:spPr>
          <a:xfrm>
            <a:off x="11210848" y="6222434"/>
            <a:ext cx="731600" cy="524700"/>
          </a:xfrm>
        </p:spPr>
        <p:txBody>
          <a:bodyPr/>
          <a:lstStyle/>
          <a:p>
            <a:fld id="{00000000-1234-1234-1234-123412341234}" type="slidenum">
              <a:rPr lang="en" smtClean="0"/>
              <a:pPr/>
              <a:t>13</a:t>
            </a:fld>
            <a:endParaRPr lang="en"/>
          </a:p>
        </p:txBody>
      </p:sp>
      <p:sp>
        <p:nvSpPr>
          <p:cNvPr id="3" name="Footer Placeholder 2">
            <a:extLst>
              <a:ext uri="{FF2B5EF4-FFF2-40B4-BE49-F238E27FC236}">
                <a16:creationId xmlns:a16="http://schemas.microsoft.com/office/drawing/2014/main" id="{1E6DA4DB-0A5C-4711-8CE7-A17D8A784133}"/>
              </a:ext>
            </a:extLst>
          </p:cNvPr>
          <p:cNvSpPr>
            <a:spLocks noGrp="1"/>
          </p:cNvSpPr>
          <p:nvPr>
            <p:ph type="ftr" sz="quarter" idx="11"/>
          </p:nvPr>
        </p:nvSpPr>
        <p:spPr/>
        <p:txBody>
          <a:bodyPr/>
          <a:lstStyle/>
          <a:p>
            <a:pPr lvl="0">
              <a:defRPr/>
            </a:pPr>
            <a:r>
              <a:rPr lang="en-US"/>
              <a:t>M3 Playbook Orientation</a:t>
            </a:r>
          </a:p>
        </p:txBody>
      </p:sp>
      <p:sp>
        <p:nvSpPr>
          <p:cNvPr id="5" name="Title 4">
            <a:extLst>
              <a:ext uri="{FF2B5EF4-FFF2-40B4-BE49-F238E27FC236}">
                <a16:creationId xmlns:a16="http://schemas.microsoft.com/office/drawing/2014/main" id="{34EDF21C-3ACD-43C2-93A5-C6B87A3F095B}"/>
              </a:ext>
            </a:extLst>
          </p:cNvPr>
          <p:cNvSpPr>
            <a:spLocks noGrp="1"/>
          </p:cNvSpPr>
          <p:nvPr>
            <p:ph type="title"/>
          </p:nvPr>
        </p:nvSpPr>
        <p:spPr>
          <a:xfrm>
            <a:off x="638355" y="317558"/>
            <a:ext cx="10938293" cy="855691"/>
          </a:xfrm>
        </p:spPr>
        <p:txBody>
          <a:bodyPr/>
          <a:lstStyle/>
          <a:p>
            <a:r>
              <a:rPr lang="en-US"/>
              <a:t>Federal Agencies </a:t>
            </a:r>
          </a:p>
        </p:txBody>
      </p:sp>
      <p:grpSp>
        <p:nvGrpSpPr>
          <p:cNvPr id="21" name="Group 20">
            <a:extLst>
              <a:ext uri="{FF2B5EF4-FFF2-40B4-BE49-F238E27FC236}">
                <a16:creationId xmlns:a16="http://schemas.microsoft.com/office/drawing/2014/main" id="{EA4517EA-8539-4873-B29E-184AD4254098}"/>
              </a:ext>
            </a:extLst>
          </p:cNvPr>
          <p:cNvGrpSpPr/>
          <p:nvPr/>
        </p:nvGrpSpPr>
        <p:grpSpPr>
          <a:xfrm>
            <a:off x="883404" y="1767808"/>
            <a:ext cx="10425193" cy="4564252"/>
            <a:chOff x="1426029" y="1850572"/>
            <a:chExt cx="6193971" cy="4093030"/>
          </a:xfrm>
        </p:grpSpPr>
        <p:sp>
          <p:nvSpPr>
            <p:cNvPr id="22" name="Freeform: Shape 21">
              <a:extLst>
                <a:ext uri="{FF2B5EF4-FFF2-40B4-BE49-F238E27FC236}">
                  <a16:creationId xmlns:a16="http://schemas.microsoft.com/office/drawing/2014/main" id="{493D6450-7FE8-4303-9E18-C0282CDB039D}"/>
                </a:ext>
              </a:extLst>
            </p:cNvPr>
            <p:cNvSpPr/>
            <p:nvPr/>
          </p:nvSpPr>
          <p:spPr>
            <a:xfrm rot="5400000" flipH="1">
              <a:off x="2476500" y="800102"/>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3" name="Picture 22">
              <a:extLst>
                <a:ext uri="{FF2B5EF4-FFF2-40B4-BE49-F238E27FC236}">
                  <a16:creationId xmlns:a16="http://schemas.microsoft.com/office/drawing/2014/main" id="{6154400E-5AF9-4E7B-912D-C25E750F6598}"/>
                </a:ext>
              </a:extLst>
            </p:cNvPr>
            <p:cNvPicPr>
              <a:picLocks noChangeAspect="1"/>
            </p:cNvPicPr>
            <p:nvPr/>
          </p:nvPicPr>
          <p:blipFill>
            <a:blip r:embed="rId2"/>
            <a:srcRect l="41956" t="30520" r="18072" b="13003"/>
            <a:stretch>
              <a:fillRect/>
            </a:stretch>
          </p:blipFill>
          <p:spPr>
            <a:xfrm rot="5400000" flipH="1">
              <a:off x="2476500" y="800101"/>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p:spPr>
        </p:pic>
      </p:grpSp>
      <p:pic>
        <p:nvPicPr>
          <p:cNvPr id="24" name="Picture 23" descr="Icon&#10;&#10;Description automatically generated">
            <a:extLst>
              <a:ext uri="{FF2B5EF4-FFF2-40B4-BE49-F238E27FC236}">
                <a16:creationId xmlns:a16="http://schemas.microsoft.com/office/drawing/2014/main" id="{0EBA6FE5-FE95-44F5-B29D-84CA5E5EE8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1578" y="1900961"/>
            <a:ext cx="1097280" cy="1097280"/>
          </a:xfrm>
          <a:prstGeom prst="rect">
            <a:avLst/>
          </a:prstGeom>
        </p:spPr>
      </p:pic>
      <p:sp>
        <p:nvSpPr>
          <p:cNvPr id="25" name="TextBox 24">
            <a:extLst>
              <a:ext uri="{FF2B5EF4-FFF2-40B4-BE49-F238E27FC236}">
                <a16:creationId xmlns:a16="http://schemas.microsoft.com/office/drawing/2014/main" id="{614E815A-41A4-4448-B8F2-7A59F82E437C}"/>
              </a:ext>
            </a:extLst>
          </p:cNvPr>
          <p:cNvSpPr txBox="1"/>
          <p:nvPr/>
        </p:nvSpPr>
        <p:spPr>
          <a:xfrm>
            <a:off x="2653952" y="2003221"/>
            <a:ext cx="8439551" cy="4062651"/>
          </a:xfrm>
          <a:prstGeom prst="rect">
            <a:avLst/>
          </a:prstGeom>
          <a:noFill/>
        </p:spPr>
        <p:txBody>
          <a:bodyPr wrap="square" rtlCol="0">
            <a:spAutoFit/>
          </a:bodyPr>
          <a:lstStyle/>
          <a:p>
            <a:pPr marL="285750" indent="-285750">
              <a:spcBef>
                <a:spcPts val="1200"/>
              </a:spcBef>
              <a:buClr>
                <a:schemeClr val="bg1"/>
              </a:buClr>
              <a:buFont typeface="Arial" panose="020B0604020202020204" pitchFamily="34" charset="0"/>
              <a:buChar char="•"/>
            </a:pPr>
            <a:r>
              <a:rPr lang="en-US">
                <a:solidFill>
                  <a:schemeClr val="bg1"/>
                </a:solidFill>
              </a:rPr>
              <a:t>Build and establish a vision and business case for modernization and/or migration </a:t>
            </a:r>
          </a:p>
          <a:p>
            <a:pPr marL="285750" indent="-285750">
              <a:spcBef>
                <a:spcPts val="1200"/>
              </a:spcBef>
              <a:buClr>
                <a:schemeClr val="bg1"/>
              </a:buClr>
              <a:buFont typeface="Arial" panose="020B0604020202020204" pitchFamily="34" charset="0"/>
              <a:buChar char="•"/>
            </a:pPr>
            <a:r>
              <a:rPr lang="en-US">
                <a:solidFill>
                  <a:schemeClr val="bg1"/>
                </a:solidFill>
              </a:rPr>
              <a:t>Conduct initial market research with QSMOs to identify what currently exists in the QSMO Marketplace</a:t>
            </a:r>
          </a:p>
          <a:p>
            <a:pPr marL="285750" indent="-285750">
              <a:spcBef>
                <a:spcPts val="1200"/>
              </a:spcBef>
              <a:buClr>
                <a:schemeClr val="bg1"/>
              </a:buClr>
              <a:buFont typeface="Arial" panose="020B0604020202020204" pitchFamily="34" charset="0"/>
              <a:buChar char="•"/>
            </a:pPr>
            <a:r>
              <a:rPr lang="en-US">
                <a:solidFill>
                  <a:schemeClr val="bg1"/>
                </a:solidFill>
              </a:rPr>
              <a:t>Define and understand business, functional, and technical requirements</a:t>
            </a:r>
          </a:p>
          <a:p>
            <a:pPr marL="285750" indent="-285750">
              <a:spcBef>
                <a:spcPts val="1200"/>
              </a:spcBef>
              <a:buClr>
                <a:schemeClr val="bg1"/>
              </a:buClr>
              <a:buFont typeface="Arial" panose="020B0604020202020204" pitchFamily="34" charset="0"/>
              <a:buChar char="•"/>
            </a:pPr>
            <a:r>
              <a:rPr lang="en-US">
                <a:solidFill>
                  <a:schemeClr val="bg1"/>
                </a:solidFill>
              </a:rPr>
              <a:t>Regularly engage with QSMOs throughout Project Business Case development</a:t>
            </a:r>
          </a:p>
          <a:p>
            <a:pPr marL="285750" indent="-285750">
              <a:spcBef>
                <a:spcPts val="1200"/>
              </a:spcBef>
              <a:buClr>
                <a:schemeClr val="bg1"/>
              </a:buClr>
              <a:buFont typeface="Arial" panose="020B0604020202020204" pitchFamily="34" charset="0"/>
              <a:buChar char="•"/>
            </a:pPr>
            <a:r>
              <a:rPr lang="en-US">
                <a:solidFill>
                  <a:schemeClr val="bg1"/>
                </a:solidFill>
              </a:rPr>
              <a:t>Select a shared services provider based on capabilities and desired target end state</a:t>
            </a:r>
          </a:p>
          <a:p>
            <a:pPr marL="285750" indent="-285750">
              <a:spcBef>
                <a:spcPts val="1200"/>
              </a:spcBef>
              <a:buClr>
                <a:schemeClr val="bg1"/>
              </a:buClr>
              <a:buFont typeface="Arial" panose="020B0604020202020204" pitchFamily="34" charset="0"/>
              <a:buChar char="•"/>
            </a:pPr>
            <a:r>
              <a:rPr lang="en-US">
                <a:solidFill>
                  <a:schemeClr val="bg1"/>
                </a:solidFill>
              </a:rPr>
              <a:t>Conduct detailed planning and set up progress reviews with your leadership and your executive steering committee</a:t>
            </a:r>
          </a:p>
          <a:p>
            <a:pPr marL="285750" indent="-285750">
              <a:spcBef>
                <a:spcPts val="1200"/>
              </a:spcBef>
              <a:buClr>
                <a:schemeClr val="bg1"/>
              </a:buClr>
              <a:buFont typeface="Arial" panose="020B0604020202020204" pitchFamily="34" charset="0"/>
              <a:buChar char="•"/>
            </a:pPr>
            <a:r>
              <a:rPr lang="en-US">
                <a:solidFill>
                  <a:schemeClr val="bg1"/>
                </a:solidFill>
              </a:rPr>
              <a:t>Communicate with QSMOs to support migration </a:t>
            </a:r>
          </a:p>
          <a:p>
            <a:pPr marL="285750" indent="-285750">
              <a:spcBef>
                <a:spcPts val="1200"/>
              </a:spcBef>
              <a:buClr>
                <a:schemeClr val="bg1"/>
              </a:buClr>
              <a:buFont typeface="Arial" panose="020B0604020202020204" pitchFamily="34" charset="0"/>
              <a:buChar char="•"/>
            </a:pPr>
            <a:r>
              <a:rPr lang="en-US">
                <a:solidFill>
                  <a:schemeClr val="bg1"/>
                </a:solidFill>
              </a:rPr>
              <a:t>Identify and design target state organization needs and prepare for changes to the workforce</a:t>
            </a:r>
          </a:p>
          <a:p>
            <a:pPr marL="285750" indent="-285750">
              <a:spcBef>
                <a:spcPts val="1200"/>
              </a:spcBef>
              <a:buClr>
                <a:schemeClr val="bg1"/>
              </a:buClr>
              <a:buFont typeface="Arial" panose="020B0604020202020204" pitchFamily="34" charset="0"/>
              <a:buChar char="•"/>
            </a:pPr>
            <a:r>
              <a:rPr lang="en-US">
                <a:solidFill>
                  <a:schemeClr val="bg1"/>
                </a:solidFill>
              </a:rPr>
              <a:t>Configure, test, and deploy your new system, concept of operations, and workforce design</a:t>
            </a:r>
          </a:p>
          <a:p>
            <a:pPr marL="285750" indent="-285750">
              <a:spcBef>
                <a:spcPts val="1200"/>
              </a:spcBef>
              <a:buClr>
                <a:schemeClr val="bg1"/>
              </a:buClr>
              <a:buFont typeface="Arial" panose="020B0604020202020204" pitchFamily="34" charset="0"/>
              <a:buChar char="•"/>
            </a:pPr>
            <a:r>
              <a:rPr lang="en-US">
                <a:solidFill>
                  <a:schemeClr val="bg1"/>
                </a:solidFill>
              </a:rPr>
              <a:t>Deliver services and monitor performance while implementing continuous improvements</a:t>
            </a:r>
          </a:p>
        </p:txBody>
      </p:sp>
      <p:sp>
        <p:nvSpPr>
          <p:cNvPr id="26" name="Text Placeholder 7">
            <a:extLst>
              <a:ext uri="{FF2B5EF4-FFF2-40B4-BE49-F238E27FC236}">
                <a16:creationId xmlns:a16="http://schemas.microsoft.com/office/drawing/2014/main" id="{92ED0B40-24EC-4721-9999-5864A11C7FD6}"/>
              </a:ext>
            </a:extLst>
          </p:cNvPr>
          <p:cNvSpPr>
            <a:spLocks noGrp="1"/>
          </p:cNvSpPr>
          <p:nvPr>
            <p:ph type="body" sz="quarter" idx="12"/>
          </p:nvPr>
        </p:nvSpPr>
        <p:spPr>
          <a:xfrm>
            <a:off x="638355" y="1029464"/>
            <a:ext cx="11459398" cy="534460"/>
          </a:xfrm>
        </p:spPr>
        <p:txBody>
          <a:bodyPr>
            <a:noAutofit/>
          </a:bodyPr>
          <a:lstStyle/>
          <a:p>
            <a:r>
              <a:rPr lang="en-US" sz="1600"/>
              <a:t>Below is a non-exhaustive list of scenarios detailing how Federal agencies can use the M3 Playbook when conducting their system and services modernizations and migrations:</a:t>
            </a:r>
          </a:p>
        </p:txBody>
      </p:sp>
      <p:sp>
        <p:nvSpPr>
          <p:cNvPr id="12" name="TextBox 11">
            <a:extLst>
              <a:ext uri="{FF2B5EF4-FFF2-40B4-BE49-F238E27FC236}">
                <a16:creationId xmlns:a16="http://schemas.microsoft.com/office/drawing/2014/main" id="{F0E26FC7-56C0-42F9-BA6B-28FB0C5A719D}"/>
              </a:ext>
            </a:extLst>
          </p:cNvPr>
          <p:cNvSpPr txBox="1"/>
          <p:nvPr/>
        </p:nvSpPr>
        <p:spPr>
          <a:xfrm>
            <a:off x="3733800" y="6527812"/>
            <a:ext cx="4724400" cy="261610"/>
          </a:xfrm>
          <a:prstGeom prst="rect">
            <a:avLst/>
          </a:prstGeom>
          <a:noFill/>
        </p:spPr>
        <p:txBody>
          <a:bodyPr wrap="square" rtlCol="0">
            <a:spAutoFit/>
          </a:bodyPr>
          <a:lstStyle/>
          <a:p>
            <a:pPr algn="ctr"/>
            <a:r>
              <a:rPr lang="en-US" sz="1100" i="1" dirty="0">
                <a:solidFill>
                  <a:schemeClr val="tx1"/>
                </a:solidFill>
              </a:rPr>
              <a:t>- Last published June 2022 -</a:t>
            </a:r>
          </a:p>
        </p:txBody>
      </p:sp>
    </p:spTree>
    <p:extLst>
      <p:ext uri="{BB962C8B-B14F-4D97-AF65-F5344CB8AC3E}">
        <p14:creationId xmlns:p14="http://schemas.microsoft.com/office/powerpoint/2010/main" val="15175357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5F6F69-D716-4080-B52B-E90D30FC977E}"/>
              </a:ext>
            </a:extLst>
          </p:cNvPr>
          <p:cNvSpPr/>
          <p:nvPr/>
        </p:nvSpPr>
        <p:spPr>
          <a:xfrm>
            <a:off x="444137" y="5982788"/>
            <a:ext cx="1397726" cy="8556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737FA33C-3238-413B-887F-94EBF589466B}"/>
              </a:ext>
            </a:extLst>
          </p:cNvPr>
          <p:cNvSpPr>
            <a:spLocks noGrp="1"/>
          </p:cNvSpPr>
          <p:nvPr>
            <p:ph type="sldNum" idx="10"/>
          </p:nvPr>
        </p:nvSpPr>
        <p:spPr>
          <a:xfrm>
            <a:off x="11210848" y="6222434"/>
            <a:ext cx="731600" cy="524700"/>
          </a:xfrm>
        </p:spPr>
        <p:txBody>
          <a:bodyPr/>
          <a:lstStyle/>
          <a:p>
            <a:fld id="{00000000-1234-1234-1234-123412341234}" type="slidenum">
              <a:rPr lang="en" smtClean="0"/>
              <a:pPr/>
              <a:t>14</a:t>
            </a:fld>
            <a:endParaRPr lang="en"/>
          </a:p>
        </p:txBody>
      </p:sp>
      <p:sp>
        <p:nvSpPr>
          <p:cNvPr id="3" name="Footer Placeholder 2">
            <a:extLst>
              <a:ext uri="{FF2B5EF4-FFF2-40B4-BE49-F238E27FC236}">
                <a16:creationId xmlns:a16="http://schemas.microsoft.com/office/drawing/2014/main" id="{1E6DA4DB-0A5C-4711-8CE7-A17D8A784133}"/>
              </a:ext>
            </a:extLst>
          </p:cNvPr>
          <p:cNvSpPr>
            <a:spLocks noGrp="1"/>
          </p:cNvSpPr>
          <p:nvPr>
            <p:ph type="ftr" sz="quarter" idx="11"/>
          </p:nvPr>
        </p:nvSpPr>
        <p:spPr/>
        <p:txBody>
          <a:bodyPr/>
          <a:lstStyle/>
          <a:p>
            <a:pPr lvl="0">
              <a:defRPr/>
            </a:pPr>
            <a:r>
              <a:rPr lang="en-US"/>
              <a:t>M3 Playbook Orientation</a:t>
            </a:r>
          </a:p>
        </p:txBody>
      </p:sp>
      <p:grpSp>
        <p:nvGrpSpPr>
          <p:cNvPr id="21" name="Group 20">
            <a:extLst>
              <a:ext uri="{FF2B5EF4-FFF2-40B4-BE49-F238E27FC236}">
                <a16:creationId xmlns:a16="http://schemas.microsoft.com/office/drawing/2014/main" id="{EA4517EA-8539-4873-B29E-184AD4254098}"/>
              </a:ext>
            </a:extLst>
          </p:cNvPr>
          <p:cNvGrpSpPr/>
          <p:nvPr/>
        </p:nvGrpSpPr>
        <p:grpSpPr>
          <a:xfrm>
            <a:off x="883404" y="1767808"/>
            <a:ext cx="10425193" cy="4605655"/>
            <a:chOff x="1426029" y="1850572"/>
            <a:chExt cx="6193971" cy="4093030"/>
          </a:xfrm>
        </p:grpSpPr>
        <p:sp>
          <p:nvSpPr>
            <p:cNvPr id="22" name="Freeform: Shape 21">
              <a:extLst>
                <a:ext uri="{FF2B5EF4-FFF2-40B4-BE49-F238E27FC236}">
                  <a16:creationId xmlns:a16="http://schemas.microsoft.com/office/drawing/2014/main" id="{493D6450-7FE8-4303-9E18-C0282CDB039D}"/>
                </a:ext>
              </a:extLst>
            </p:cNvPr>
            <p:cNvSpPr/>
            <p:nvPr/>
          </p:nvSpPr>
          <p:spPr>
            <a:xfrm rot="5400000" flipH="1">
              <a:off x="2476500" y="800102"/>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3" name="Picture 22">
              <a:extLst>
                <a:ext uri="{FF2B5EF4-FFF2-40B4-BE49-F238E27FC236}">
                  <a16:creationId xmlns:a16="http://schemas.microsoft.com/office/drawing/2014/main" id="{6154400E-5AF9-4E7B-912D-C25E750F6598}"/>
                </a:ext>
              </a:extLst>
            </p:cNvPr>
            <p:cNvPicPr>
              <a:picLocks noChangeAspect="1"/>
            </p:cNvPicPr>
            <p:nvPr/>
          </p:nvPicPr>
          <p:blipFill>
            <a:blip r:embed="rId2"/>
            <a:srcRect l="41956" t="30520" r="18072" b="13003"/>
            <a:stretch>
              <a:fillRect/>
            </a:stretch>
          </p:blipFill>
          <p:spPr>
            <a:xfrm rot="5400000" flipH="1">
              <a:off x="2476500" y="800101"/>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p:spPr>
        </p:pic>
      </p:grpSp>
      <p:sp>
        <p:nvSpPr>
          <p:cNvPr id="26" name="Text Placeholder 7">
            <a:extLst>
              <a:ext uri="{FF2B5EF4-FFF2-40B4-BE49-F238E27FC236}">
                <a16:creationId xmlns:a16="http://schemas.microsoft.com/office/drawing/2014/main" id="{92ED0B40-24EC-4721-9999-5864A11C7FD6}"/>
              </a:ext>
            </a:extLst>
          </p:cNvPr>
          <p:cNvSpPr>
            <a:spLocks noGrp="1"/>
          </p:cNvSpPr>
          <p:nvPr>
            <p:ph type="body" sz="quarter" idx="12"/>
          </p:nvPr>
        </p:nvSpPr>
        <p:spPr>
          <a:xfrm>
            <a:off x="638355" y="1029464"/>
            <a:ext cx="11459398" cy="534460"/>
          </a:xfrm>
        </p:spPr>
        <p:txBody>
          <a:bodyPr>
            <a:noAutofit/>
          </a:bodyPr>
          <a:lstStyle/>
          <a:p>
            <a:r>
              <a:rPr lang="en-US" sz="1600"/>
              <a:t>Below is a non-exhaustive list of scenarios detailing how shared services providers can use the M3 Playbook when assisting in system and services modernizations and migrations:</a:t>
            </a:r>
          </a:p>
        </p:txBody>
      </p:sp>
      <p:sp>
        <p:nvSpPr>
          <p:cNvPr id="14" name="Title 4">
            <a:extLst>
              <a:ext uri="{FF2B5EF4-FFF2-40B4-BE49-F238E27FC236}">
                <a16:creationId xmlns:a16="http://schemas.microsoft.com/office/drawing/2014/main" id="{D513DA48-61D1-4AE9-BD47-B60B0FAFF2B4}"/>
              </a:ext>
            </a:extLst>
          </p:cNvPr>
          <p:cNvSpPr>
            <a:spLocks noGrp="1"/>
          </p:cNvSpPr>
          <p:nvPr>
            <p:ph type="title"/>
          </p:nvPr>
        </p:nvSpPr>
        <p:spPr>
          <a:xfrm>
            <a:off x="638355" y="317558"/>
            <a:ext cx="10938293" cy="855691"/>
          </a:xfrm>
        </p:spPr>
        <p:txBody>
          <a:bodyPr/>
          <a:lstStyle/>
          <a:p>
            <a:r>
              <a:rPr lang="en-US"/>
              <a:t>Shared Services Providers</a:t>
            </a:r>
          </a:p>
        </p:txBody>
      </p:sp>
      <p:pic>
        <p:nvPicPr>
          <p:cNvPr id="17" name="Picture 16" descr="Icon&#10;&#10;Description automatically generated">
            <a:extLst>
              <a:ext uri="{FF2B5EF4-FFF2-40B4-BE49-F238E27FC236}">
                <a16:creationId xmlns:a16="http://schemas.microsoft.com/office/drawing/2014/main" id="{C4C804CB-0E36-4098-BEDC-E95AEDD98E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791" y="1842178"/>
            <a:ext cx="1188720" cy="1188720"/>
          </a:xfrm>
          <a:prstGeom prst="rect">
            <a:avLst/>
          </a:prstGeom>
        </p:spPr>
      </p:pic>
      <p:sp>
        <p:nvSpPr>
          <p:cNvPr id="20" name="TextBox 19">
            <a:extLst>
              <a:ext uri="{FF2B5EF4-FFF2-40B4-BE49-F238E27FC236}">
                <a16:creationId xmlns:a16="http://schemas.microsoft.com/office/drawing/2014/main" id="{E868DFB8-118E-44F7-B731-768C0003E472}"/>
              </a:ext>
            </a:extLst>
          </p:cNvPr>
          <p:cNvSpPr txBox="1"/>
          <p:nvPr/>
        </p:nvSpPr>
        <p:spPr>
          <a:xfrm>
            <a:off x="2647129" y="1906886"/>
            <a:ext cx="7975848" cy="4339650"/>
          </a:xfrm>
          <a:prstGeom prst="rect">
            <a:avLst/>
          </a:prstGeom>
          <a:noFill/>
        </p:spPr>
        <p:txBody>
          <a:bodyPr wrap="square" rtlCol="0">
            <a:spAutoFit/>
          </a:bodyPr>
          <a:lstStyle/>
          <a:p>
            <a:pPr marL="285750" indent="-285750">
              <a:spcBef>
                <a:spcPts val="1200"/>
              </a:spcBef>
              <a:buClr>
                <a:schemeClr val="bg1"/>
              </a:buClr>
              <a:buFont typeface="Arial" panose="020B0604020202020204" pitchFamily="34" charset="0"/>
              <a:buChar char="•"/>
            </a:pPr>
            <a:r>
              <a:rPr lang="en-US">
                <a:solidFill>
                  <a:schemeClr val="bg1"/>
                </a:solidFill>
              </a:rPr>
              <a:t>Engage with Federal agencies to provide relevant information as they define their Scope of Services</a:t>
            </a:r>
          </a:p>
          <a:p>
            <a:pPr marL="285750" indent="-285750">
              <a:spcBef>
                <a:spcPts val="1200"/>
              </a:spcBef>
              <a:buClr>
                <a:schemeClr val="bg1"/>
              </a:buClr>
              <a:buFont typeface="Arial" panose="020B0604020202020204" pitchFamily="34" charset="0"/>
              <a:buChar char="•"/>
            </a:pPr>
            <a:r>
              <a:rPr lang="en-US">
                <a:solidFill>
                  <a:schemeClr val="bg1"/>
                </a:solidFill>
              </a:rPr>
              <a:t>Assist Federal agencies in defining Migration Approach and roadmap</a:t>
            </a:r>
          </a:p>
          <a:p>
            <a:pPr marL="285750" indent="-285750">
              <a:spcBef>
                <a:spcPts val="1200"/>
              </a:spcBef>
              <a:buClr>
                <a:schemeClr val="bg1"/>
              </a:buClr>
              <a:buFont typeface="Arial" panose="020B0604020202020204" pitchFamily="34" charset="0"/>
              <a:buChar char="•"/>
            </a:pPr>
            <a:r>
              <a:rPr lang="en-US">
                <a:solidFill>
                  <a:schemeClr val="bg1"/>
                </a:solidFill>
              </a:rPr>
              <a:t>Develop and manage program management documentation </a:t>
            </a:r>
          </a:p>
          <a:p>
            <a:pPr marL="285750" indent="-285750">
              <a:spcBef>
                <a:spcPts val="1200"/>
              </a:spcBef>
              <a:buClr>
                <a:schemeClr val="bg1"/>
              </a:buClr>
              <a:buFont typeface="Arial" panose="020B0604020202020204" pitchFamily="34" charset="0"/>
              <a:buChar char="•"/>
            </a:pPr>
            <a:r>
              <a:rPr lang="en-US">
                <a:solidFill>
                  <a:schemeClr val="bg1"/>
                </a:solidFill>
              </a:rPr>
              <a:t>Assist in onboarding shared services provider </a:t>
            </a:r>
            <a:r>
              <a:rPr lang="en-US" kern="1200">
                <a:solidFill>
                  <a:srgbClr val="FFFFFF"/>
                </a:solidFill>
              </a:rPr>
              <a:t>Program Management Office (</a:t>
            </a:r>
            <a:r>
              <a:rPr lang="en-US">
                <a:solidFill>
                  <a:schemeClr val="bg1"/>
                </a:solidFill>
              </a:rPr>
              <a:t>PMO) lead and team and integrate governance structure and risk processes</a:t>
            </a:r>
          </a:p>
          <a:p>
            <a:pPr marL="285750" indent="-285750">
              <a:spcBef>
                <a:spcPts val="1200"/>
              </a:spcBef>
              <a:buClr>
                <a:schemeClr val="bg1"/>
              </a:buClr>
              <a:buFont typeface="Arial" panose="020B0604020202020204" pitchFamily="34" charset="0"/>
              <a:buChar char="•"/>
            </a:pPr>
            <a:r>
              <a:rPr lang="en-US">
                <a:solidFill>
                  <a:schemeClr val="bg1"/>
                </a:solidFill>
              </a:rPr>
              <a:t>Work with QSMOs to assist in migration path forward as necessary</a:t>
            </a:r>
          </a:p>
          <a:p>
            <a:pPr marL="285750" indent="-285750">
              <a:spcBef>
                <a:spcPts val="1200"/>
              </a:spcBef>
              <a:buClr>
                <a:schemeClr val="bg1"/>
              </a:buClr>
              <a:buFont typeface="Arial" panose="020B0604020202020204" pitchFamily="34" charset="0"/>
              <a:buChar char="•"/>
            </a:pPr>
            <a:r>
              <a:rPr lang="en-US">
                <a:solidFill>
                  <a:schemeClr val="bg1"/>
                </a:solidFill>
              </a:rPr>
              <a:t>Partner with Federal agencies to identify functional and technical requirements and provide solutions to resolve gaps</a:t>
            </a:r>
          </a:p>
          <a:p>
            <a:pPr marL="285750" indent="-285750">
              <a:spcBef>
                <a:spcPts val="1200"/>
              </a:spcBef>
              <a:buClr>
                <a:schemeClr val="bg1"/>
              </a:buClr>
              <a:buFont typeface="Arial" panose="020B0604020202020204" pitchFamily="34" charset="0"/>
              <a:buChar char="•"/>
            </a:pPr>
            <a:r>
              <a:rPr lang="en-US">
                <a:solidFill>
                  <a:schemeClr val="bg1"/>
                </a:solidFill>
              </a:rPr>
              <a:t>Help monitor, measure, and communicate program migration process</a:t>
            </a:r>
          </a:p>
          <a:p>
            <a:pPr marL="285750" indent="-285750">
              <a:spcBef>
                <a:spcPts val="1200"/>
              </a:spcBef>
              <a:buClr>
                <a:schemeClr val="bg1"/>
              </a:buClr>
              <a:buFont typeface="Arial" panose="020B0604020202020204" pitchFamily="34" charset="0"/>
              <a:buChar char="•"/>
            </a:pPr>
            <a:r>
              <a:rPr lang="en-US">
                <a:solidFill>
                  <a:schemeClr val="bg1"/>
                </a:solidFill>
              </a:rPr>
              <a:t>Migrate in-scope processes and assist in designing the transformed organization for the future state environment </a:t>
            </a:r>
          </a:p>
          <a:p>
            <a:pPr marL="285750" indent="-285750">
              <a:spcBef>
                <a:spcPts val="1200"/>
              </a:spcBef>
              <a:buClr>
                <a:schemeClr val="bg1"/>
              </a:buClr>
              <a:buFont typeface="Arial" panose="020B0604020202020204" pitchFamily="34" charset="0"/>
              <a:buChar char="•"/>
            </a:pPr>
            <a:r>
              <a:rPr lang="en-US">
                <a:solidFill>
                  <a:schemeClr val="bg1"/>
                </a:solidFill>
              </a:rPr>
              <a:t>Monitor the success of the migration and conduct continuous process improvements and customer care activities</a:t>
            </a:r>
          </a:p>
        </p:txBody>
      </p:sp>
      <p:sp>
        <p:nvSpPr>
          <p:cNvPr id="12" name="TextBox 11">
            <a:extLst>
              <a:ext uri="{FF2B5EF4-FFF2-40B4-BE49-F238E27FC236}">
                <a16:creationId xmlns:a16="http://schemas.microsoft.com/office/drawing/2014/main" id="{627AFD0F-28A0-4D4B-806E-F6D4010AF002}"/>
              </a:ext>
            </a:extLst>
          </p:cNvPr>
          <p:cNvSpPr txBox="1"/>
          <p:nvPr/>
        </p:nvSpPr>
        <p:spPr>
          <a:xfrm>
            <a:off x="3733800" y="6527812"/>
            <a:ext cx="4724400" cy="261610"/>
          </a:xfrm>
          <a:prstGeom prst="rect">
            <a:avLst/>
          </a:prstGeom>
          <a:noFill/>
        </p:spPr>
        <p:txBody>
          <a:bodyPr wrap="square" rtlCol="0">
            <a:spAutoFit/>
          </a:bodyPr>
          <a:lstStyle/>
          <a:p>
            <a:pPr algn="ctr"/>
            <a:r>
              <a:rPr lang="en-US" sz="1100" i="1" dirty="0">
                <a:solidFill>
                  <a:schemeClr val="tx1"/>
                </a:solidFill>
              </a:rPr>
              <a:t>- Last published June 2022 -</a:t>
            </a:r>
          </a:p>
        </p:txBody>
      </p:sp>
    </p:spTree>
    <p:extLst>
      <p:ext uri="{BB962C8B-B14F-4D97-AF65-F5344CB8AC3E}">
        <p14:creationId xmlns:p14="http://schemas.microsoft.com/office/powerpoint/2010/main" val="11812390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48DE9330-1FB6-4AE5-8F13-608E2EB12611}"/>
              </a:ext>
            </a:extLst>
          </p:cNvPr>
          <p:cNvGrpSpPr/>
          <p:nvPr/>
        </p:nvGrpSpPr>
        <p:grpSpPr>
          <a:xfrm>
            <a:off x="-29207" y="-24958"/>
            <a:ext cx="12246693" cy="6907916"/>
            <a:chOff x="-29192" y="-24958"/>
            <a:chExt cx="12232747" cy="6907916"/>
          </a:xfrm>
        </p:grpSpPr>
        <p:sp>
          <p:nvSpPr>
            <p:cNvPr id="7" name="Rectangle 6">
              <a:extLst>
                <a:ext uri="{FF2B5EF4-FFF2-40B4-BE49-F238E27FC236}">
                  <a16:creationId xmlns:a16="http://schemas.microsoft.com/office/drawing/2014/main" id="{D699E8FD-3FF5-4694-90A1-AD3766E1C2E0}"/>
                </a:ext>
              </a:extLst>
            </p:cNvPr>
            <p:cNvSpPr/>
            <p:nvPr/>
          </p:nvSpPr>
          <p:spPr>
            <a:xfrm>
              <a:off x="0" y="0"/>
              <a:ext cx="12192000" cy="6858000"/>
            </a:xfrm>
            <a:prstGeom prst="rect">
              <a:avLst/>
            </a:prstGeom>
            <a:solidFill>
              <a:srgbClr val="005087"/>
            </a:solidFill>
            <a:ln>
              <a:solidFill>
                <a:srgbClr val="0050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6" name="Picture 5">
              <a:extLst>
                <a:ext uri="{FF2B5EF4-FFF2-40B4-BE49-F238E27FC236}">
                  <a16:creationId xmlns:a16="http://schemas.microsoft.com/office/drawing/2014/main" id="{323D5DCE-91C0-4554-A584-2EEE85516A17}"/>
                </a:ext>
              </a:extLst>
            </p:cNvPr>
            <p:cNvPicPr>
              <a:picLocks noChangeAspect="1"/>
            </p:cNvPicPr>
            <p:nvPr/>
          </p:nvPicPr>
          <p:blipFill>
            <a:blip r:embed="rId2"/>
            <a:stretch>
              <a:fillRect/>
            </a:stretch>
          </p:blipFill>
          <p:spPr>
            <a:xfrm>
              <a:off x="-29192" y="-24958"/>
              <a:ext cx="12232747" cy="6907916"/>
            </a:xfrm>
            <a:prstGeom prst="rect">
              <a:avLst/>
            </a:prstGeom>
          </p:spPr>
        </p:pic>
      </p:grpSp>
      <p:sp>
        <p:nvSpPr>
          <p:cNvPr id="2" name="Slide Number Placeholder 1">
            <a:extLst>
              <a:ext uri="{FF2B5EF4-FFF2-40B4-BE49-F238E27FC236}">
                <a16:creationId xmlns:a16="http://schemas.microsoft.com/office/drawing/2014/main" id="{1626865A-2938-4266-AE69-6F8D147F0B64}"/>
              </a:ext>
            </a:extLst>
          </p:cNvPr>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 sz="1200" b="1" i="0" u="none" strike="noStrike" kern="0" cap="none" spc="0" normalizeH="0" baseline="0" noProof="0" dirty="0">
              <a:ln>
                <a:noFill/>
              </a:ln>
              <a:solidFill>
                <a:srgbClr val="FFFFFF"/>
              </a:solidFill>
              <a:effectLst/>
              <a:uLnTx/>
              <a:uFillTx/>
              <a:latin typeface="Arial"/>
              <a:cs typeface="Arial"/>
              <a:sym typeface="Arial"/>
            </a:endParaRPr>
          </a:p>
        </p:txBody>
      </p:sp>
      <p:sp>
        <p:nvSpPr>
          <p:cNvPr id="3" name="Footer Placeholder 2">
            <a:extLst>
              <a:ext uri="{FF2B5EF4-FFF2-40B4-BE49-F238E27FC236}">
                <a16:creationId xmlns:a16="http://schemas.microsoft.com/office/drawing/2014/main" id="{96814683-17BA-4ED1-9821-F2D318E0FCF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dirty="0">
                <a:ln>
                  <a:noFill/>
                </a:ln>
                <a:solidFill>
                  <a:srgbClr val="FFFFFF"/>
                </a:solidFill>
                <a:effectLst/>
                <a:uLnTx/>
                <a:uFillTx/>
                <a:latin typeface="Arial"/>
                <a:cs typeface="Arial"/>
                <a:sym typeface="Arial"/>
              </a:rPr>
              <a:t>M3 Playbook Orientation</a:t>
            </a:r>
          </a:p>
        </p:txBody>
      </p:sp>
      <p:sp>
        <p:nvSpPr>
          <p:cNvPr id="5" name="Title 4">
            <a:extLst>
              <a:ext uri="{FF2B5EF4-FFF2-40B4-BE49-F238E27FC236}">
                <a16:creationId xmlns:a16="http://schemas.microsoft.com/office/drawing/2014/main" id="{4EB248F1-E6B4-4946-9965-6BDEF1E2F0AF}"/>
              </a:ext>
            </a:extLst>
          </p:cNvPr>
          <p:cNvSpPr>
            <a:spLocks noGrp="1"/>
          </p:cNvSpPr>
          <p:nvPr>
            <p:ph type="title"/>
          </p:nvPr>
        </p:nvSpPr>
        <p:spPr>
          <a:xfrm>
            <a:off x="638355" y="338175"/>
            <a:ext cx="10938293" cy="855691"/>
          </a:xfrm>
        </p:spPr>
        <p:txBody>
          <a:bodyPr>
            <a:normAutofit/>
          </a:bodyPr>
          <a:lstStyle/>
          <a:p>
            <a:r>
              <a:rPr lang="en-US" dirty="0">
                <a:solidFill>
                  <a:schemeClr val="bg1"/>
                </a:solidFill>
              </a:rPr>
              <a:t>Phases of M3 - Video </a:t>
            </a:r>
          </a:p>
        </p:txBody>
      </p:sp>
      <p:cxnSp>
        <p:nvCxnSpPr>
          <p:cNvPr id="8" name="Straight Connector 7">
            <a:extLst>
              <a:ext uri="{FF2B5EF4-FFF2-40B4-BE49-F238E27FC236}">
                <a16:creationId xmlns:a16="http://schemas.microsoft.com/office/drawing/2014/main" id="{4EDC759D-3303-48E3-9242-431A923E5FF4}"/>
              </a:ext>
            </a:extLst>
          </p:cNvPr>
          <p:cNvCxnSpPr>
            <a:cxnSpLocks/>
          </p:cNvCxnSpPr>
          <p:nvPr/>
        </p:nvCxnSpPr>
        <p:spPr>
          <a:xfrm>
            <a:off x="638355" y="936183"/>
            <a:ext cx="1156756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C9C7E34-34D1-4189-A413-DF46C515D779}"/>
              </a:ext>
            </a:extLst>
          </p:cNvPr>
          <p:cNvSpPr txBox="1"/>
          <p:nvPr/>
        </p:nvSpPr>
        <p:spPr>
          <a:xfrm>
            <a:off x="3733800" y="6527812"/>
            <a:ext cx="47244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1" u="none" strike="noStrike" kern="0" cap="none" spc="0" normalizeH="0" baseline="0" noProof="0" dirty="0">
                <a:ln>
                  <a:noFill/>
                </a:ln>
                <a:solidFill>
                  <a:srgbClr val="FFFFFF"/>
                </a:solidFill>
                <a:effectLst/>
                <a:uLnTx/>
                <a:uFillTx/>
                <a:latin typeface="Arial"/>
                <a:cs typeface="Arial"/>
                <a:sym typeface="Arial"/>
              </a:rPr>
              <a:t> - Last published June 2022 -</a:t>
            </a:r>
          </a:p>
        </p:txBody>
      </p:sp>
      <p:sp>
        <p:nvSpPr>
          <p:cNvPr id="15" name="Text Placeholder 7">
            <a:extLst>
              <a:ext uri="{FF2B5EF4-FFF2-40B4-BE49-F238E27FC236}">
                <a16:creationId xmlns:a16="http://schemas.microsoft.com/office/drawing/2014/main" id="{2D3B85F1-CCC9-4FC3-81E3-4D4547B1DCB1}"/>
              </a:ext>
            </a:extLst>
          </p:cNvPr>
          <p:cNvSpPr>
            <a:spLocks noGrp="1"/>
          </p:cNvSpPr>
          <p:nvPr>
            <p:ph type="body" sz="quarter" idx="12"/>
          </p:nvPr>
        </p:nvSpPr>
        <p:spPr>
          <a:xfrm>
            <a:off x="638355" y="1108490"/>
            <a:ext cx="10938292" cy="1263650"/>
          </a:xfrm>
        </p:spPr>
        <p:txBody>
          <a:bodyPr>
            <a:noAutofit/>
          </a:bodyPr>
          <a:lstStyle/>
          <a:p>
            <a:r>
              <a:rPr lang="en-US" sz="1600" dirty="0">
                <a:solidFill>
                  <a:schemeClr val="bg1"/>
                </a:solidFill>
                <a:latin typeface="+mn-lt"/>
              </a:rPr>
              <a:t>Please click the play button on the laptop screen below to further familiarize yourself with the Phases of M3.</a:t>
            </a:r>
          </a:p>
        </p:txBody>
      </p:sp>
      <p:pic>
        <p:nvPicPr>
          <p:cNvPr id="14" name="Picture 13">
            <a:hlinkClick r:id="rId3"/>
            <a:extLst>
              <a:ext uri="{FF2B5EF4-FFF2-40B4-BE49-F238E27FC236}">
                <a16:creationId xmlns:a16="http://schemas.microsoft.com/office/drawing/2014/main" id="{9CAAE58E-74B4-47D1-9AEB-DBFF5F960C38}"/>
              </a:ext>
            </a:extLst>
          </p:cNvPr>
          <p:cNvPicPr>
            <a:picLocks noChangeAspect="1"/>
          </p:cNvPicPr>
          <p:nvPr/>
        </p:nvPicPr>
        <p:blipFill>
          <a:blip r:embed="rId4"/>
          <a:stretch>
            <a:fillRect/>
          </a:stretch>
        </p:blipFill>
        <p:spPr>
          <a:xfrm>
            <a:off x="1279743" y="1566192"/>
            <a:ext cx="9632515" cy="4907705"/>
          </a:xfrm>
          <a:prstGeom prst="rect">
            <a:avLst/>
          </a:prstGeom>
        </p:spPr>
      </p:pic>
      <p:grpSp>
        <p:nvGrpSpPr>
          <p:cNvPr id="19" name="Group 18">
            <a:extLst>
              <a:ext uri="{FF2B5EF4-FFF2-40B4-BE49-F238E27FC236}">
                <a16:creationId xmlns:a16="http://schemas.microsoft.com/office/drawing/2014/main" id="{3B8391DF-CA0C-49B6-BC34-AF0A92CAF6B0}"/>
              </a:ext>
            </a:extLst>
          </p:cNvPr>
          <p:cNvGrpSpPr/>
          <p:nvPr/>
        </p:nvGrpSpPr>
        <p:grpSpPr>
          <a:xfrm>
            <a:off x="5364480" y="3288524"/>
            <a:ext cx="1463040" cy="1463040"/>
            <a:chOff x="7531100" y="3250950"/>
            <a:chExt cx="1463040" cy="1463040"/>
          </a:xfrm>
        </p:grpSpPr>
        <p:sp>
          <p:nvSpPr>
            <p:cNvPr id="18" name="Oval 17">
              <a:hlinkClick r:id="rId3"/>
              <a:extLst>
                <a:ext uri="{FF2B5EF4-FFF2-40B4-BE49-F238E27FC236}">
                  <a16:creationId xmlns:a16="http://schemas.microsoft.com/office/drawing/2014/main" id="{1A9D36EE-57BE-4399-A678-1F8C51660A46}"/>
                </a:ext>
              </a:extLst>
            </p:cNvPr>
            <p:cNvSpPr/>
            <p:nvPr/>
          </p:nvSpPr>
          <p:spPr>
            <a:xfrm>
              <a:off x="7531100" y="3250950"/>
              <a:ext cx="1463040" cy="1463040"/>
            </a:xfrm>
            <a:prstGeom prst="ellipse">
              <a:avLst/>
            </a:prstGeom>
            <a:solidFill>
              <a:srgbClr val="E6E6E6">
                <a:alpha val="89000"/>
              </a:srgbClr>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17" name="Graphic 16" descr="Play">
              <a:hlinkClick r:id="rId3"/>
              <a:extLst>
                <a:ext uri="{FF2B5EF4-FFF2-40B4-BE49-F238E27FC236}">
                  <a16:creationId xmlns:a16="http://schemas.microsoft.com/office/drawing/2014/main" id="{A151780B-C0C7-48DA-9AC5-539EE988EB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56220" y="3525270"/>
              <a:ext cx="914400" cy="914400"/>
            </a:xfrm>
            <a:prstGeom prst="rect">
              <a:avLst/>
            </a:prstGeom>
          </p:spPr>
        </p:pic>
      </p:grpSp>
    </p:spTree>
    <p:extLst>
      <p:ext uri="{BB962C8B-B14F-4D97-AF65-F5344CB8AC3E}">
        <p14:creationId xmlns:p14="http://schemas.microsoft.com/office/powerpoint/2010/main" val="3677196888"/>
      </p:ext>
    </p:extLst>
  </p:cSld>
  <p:clrMapOvr>
    <a:masterClrMapping/>
  </p:clrMapOvr>
  <p:timing>
    <p:tnLst>
      <p:par>
        <p:cTn id="1" dur="indefinite" restart="never" nodeType="tmRoot">
          <p:childTnLst>
            <p:par>
              <p:cTn id="2"/>
            </p:par>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05B919-C09B-4FA6-9443-C315514307C4}"/>
              </a:ext>
            </a:extLst>
          </p:cNvPr>
          <p:cNvSpPr/>
          <p:nvPr/>
        </p:nvSpPr>
        <p:spPr>
          <a:xfrm>
            <a:off x="530352" y="6144768"/>
            <a:ext cx="1261872" cy="602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2" name="Slide Number Placeholder 1">
            <a:extLst>
              <a:ext uri="{FF2B5EF4-FFF2-40B4-BE49-F238E27FC236}">
                <a16:creationId xmlns:a16="http://schemas.microsoft.com/office/drawing/2014/main" id="{16D43D98-4DE9-4BA6-ACA1-1F149275B94B}"/>
              </a:ext>
            </a:extLst>
          </p:cNvPr>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rgbClr val="005087"/>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lang="en" sz="1200" b="1" i="0" u="none" strike="noStrike" kern="0" cap="none" spc="0" normalizeH="0" baseline="0" noProof="0">
              <a:ln>
                <a:noFill/>
              </a:ln>
              <a:solidFill>
                <a:srgbClr val="005087"/>
              </a:solidFill>
              <a:effectLst/>
              <a:uLnTx/>
              <a:uFillTx/>
              <a:latin typeface="Arial"/>
              <a:cs typeface="Arial"/>
              <a:sym typeface="Arial"/>
            </a:endParaRPr>
          </a:p>
        </p:txBody>
      </p:sp>
      <p:sp>
        <p:nvSpPr>
          <p:cNvPr id="3" name="Footer Placeholder 2">
            <a:extLst>
              <a:ext uri="{FF2B5EF4-FFF2-40B4-BE49-F238E27FC236}">
                <a16:creationId xmlns:a16="http://schemas.microsoft.com/office/drawing/2014/main" id="{4A4B8B6C-E453-44B2-BED9-F2B8F1C6B388}"/>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rgbClr val="005087"/>
                </a:solidFill>
                <a:effectLst/>
                <a:uLnTx/>
                <a:uFillTx/>
                <a:latin typeface="Arial"/>
                <a:cs typeface="Arial"/>
                <a:sym typeface="Arial"/>
              </a:rPr>
              <a:t>M3 Playbook Orientation</a:t>
            </a:r>
          </a:p>
        </p:txBody>
      </p:sp>
      <p:sp>
        <p:nvSpPr>
          <p:cNvPr id="5" name="Title 4">
            <a:extLst>
              <a:ext uri="{FF2B5EF4-FFF2-40B4-BE49-F238E27FC236}">
                <a16:creationId xmlns:a16="http://schemas.microsoft.com/office/drawing/2014/main" id="{815B8620-B818-48E2-B90E-BBF1527C53A0}"/>
              </a:ext>
            </a:extLst>
          </p:cNvPr>
          <p:cNvSpPr>
            <a:spLocks noGrp="1"/>
          </p:cNvSpPr>
          <p:nvPr>
            <p:ph type="title"/>
          </p:nvPr>
        </p:nvSpPr>
        <p:spPr>
          <a:xfrm>
            <a:off x="638355" y="338229"/>
            <a:ext cx="10938293" cy="855691"/>
          </a:xfrm>
        </p:spPr>
        <p:txBody>
          <a:bodyPr>
            <a:noAutofit/>
          </a:bodyPr>
          <a:lstStyle/>
          <a:p>
            <a:r>
              <a:rPr lang="en-US" sz="2800"/>
              <a:t>Phases of the M3</a:t>
            </a:r>
          </a:p>
        </p:txBody>
      </p:sp>
      <p:sp>
        <p:nvSpPr>
          <p:cNvPr id="8" name="Text Placeholder 7">
            <a:extLst>
              <a:ext uri="{FF2B5EF4-FFF2-40B4-BE49-F238E27FC236}">
                <a16:creationId xmlns:a16="http://schemas.microsoft.com/office/drawing/2014/main" id="{7EBFC3E1-166A-4E91-A229-FC4E49261FE9}"/>
              </a:ext>
            </a:extLst>
          </p:cNvPr>
          <p:cNvSpPr>
            <a:spLocks noGrp="1"/>
          </p:cNvSpPr>
          <p:nvPr>
            <p:ph type="body" sz="quarter" idx="12"/>
          </p:nvPr>
        </p:nvSpPr>
        <p:spPr>
          <a:xfrm>
            <a:off x="639764" y="1123127"/>
            <a:ext cx="10936884" cy="4356336"/>
          </a:xfrm>
        </p:spPr>
        <p:txBody>
          <a:bodyPr>
            <a:normAutofit/>
          </a:bodyPr>
          <a:lstStyle/>
          <a:p>
            <a:r>
              <a:rPr lang="en-US" sz="1600"/>
              <a:t>The M3 Framework segments modernizations and migrations into six discrete phases: (0) Assessment, (1) Readiness, (2) Selection, (3) Engagement, (4) Migration, and (5) Operations. Each phase includes a series of objectives and recommended activities that are grouped across the four workstreams. Each of the phases are detailed on the following slides.</a:t>
            </a:r>
          </a:p>
        </p:txBody>
      </p:sp>
      <p:pic>
        <p:nvPicPr>
          <p:cNvPr id="10" name="Picture 9">
            <a:extLst>
              <a:ext uri="{FF2B5EF4-FFF2-40B4-BE49-F238E27FC236}">
                <a16:creationId xmlns:a16="http://schemas.microsoft.com/office/drawing/2014/main" id="{985BB283-74DC-4F86-88C7-102F740066AB}"/>
              </a:ext>
            </a:extLst>
          </p:cNvPr>
          <p:cNvPicPr>
            <a:picLocks noChangeAspect="1"/>
          </p:cNvPicPr>
          <p:nvPr/>
        </p:nvPicPr>
        <p:blipFill>
          <a:blip r:embed="rId2"/>
          <a:stretch>
            <a:fillRect/>
          </a:stretch>
        </p:blipFill>
        <p:spPr>
          <a:xfrm>
            <a:off x="1212905" y="2242269"/>
            <a:ext cx="9789192" cy="3569847"/>
          </a:xfrm>
          <a:prstGeom prst="rect">
            <a:avLst/>
          </a:prstGeom>
        </p:spPr>
      </p:pic>
      <p:sp>
        <p:nvSpPr>
          <p:cNvPr id="9" name="TextBox 8">
            <a:extLst>
              <a:ext uri="{FF2B5EF4-FFF2-40B4-BE49-F238E27FC236}">
                <a16:creationId xmlns:a16="http://schemas.microsoft.com/office/drawing/2014/main" id="{632B7A2F-9DF7-469A-880E-7D5DFDF31934}"/>
              </a:ext>
            </a:extLst>
          </p:cNvPr>
          <p:cNvSpPr txBox="1"/>
          <p:nvPr/>
        </p:nvSpPr>
        <p:spPr>
          <a:xfrm>
            <a:off x="3733800" y="6527812"/>
            <a:ext cx="4724400" cy="261610"/>
          </a:xfrm>
          <a:prstGeom prst="rect">
            <a:avLst/>
          </a:prstGeom>
          <a:noFill/>
        </p:spPr>
        <p:txBody>
          <a:bodyPr wrap="square" rtlCol="0">
            <a:spAutoFit/>
          </a:bodyPr>
          <a:lstStyle/>
          <a:p>
            <a:pPr algn="ctr"/>
            <a:r>
              <a:rPr lang="en-US" sz="1100" i="1" dirty="0">
                <a:solidFill>
                  <a:schemeClr val="tx1"/>
                </a:solidFill>
              </a:rPr>
              <a:t>- Last published June 2022 -</a:t>
            </a:r>
          </a:p>
        </p:txBody>
      </p:sp>
    </p:spTree>
    <p:extLst>
      <p:ext uri="{BB962C8B-B14F-4D97-AF65-F5344CB8AC3E}">
        <p14:creationId xmlns:p14="http://schemas.microsoft.com/office/powerpoint/2010/main" val="1759727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88A3E7-6558-47FD-91FA-D0EA9E266A34}"/>
              </a:ext>
            </a:extLst>
          </p:cNvPr>
          <p:cNvSpPr/>
          <p:nvPr/>
        </p:nvSpPr>
        <p:spPr>
          <a:xfrm>
            <a:off x="77034" y="544286"/>
            <a:ext cx="12075638" cy="6767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D579E0-6886-4322-B2B2-F22CC80F64B3}"/>
              </a:ext>
            </a:extLst>
          </p:cNvPr>
          <p:cNvSpPr/>
          <p:nvPr/>
        </p:nvSpPr>
        <p:spPr>
          <a:xfrm>
            <a:off x="528918" y="6222434"/>
            <a:ext cx="1228164" cy="51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nvGrpSpPr>
          <p:cNvPr id="19" name="Group 18">
            <a:extLst>
              <a:ext uri="{FF2B5EF4-FFF2-40B4-BE49-F238E27FC236}">
                <a16:creationId xmlns:a16="http://schemas.microsoft.com/office/drawing/2014/main" id="{A146E0D1-78D8-4DC4-8BB3-7CB2D7340D78}"/>
              </a:ext>
            </a:extLst>
          </p:cNvPr>
          <p:cNvGrpSpPr/>
          <p:nvPr/>
        </p:nvGrpSpPr>
        <p:grpSpPr>
          <a:xfrm>
            <a:off x="7007585" y="0"/>
            <a:ext cx="5184416" cy="6858000"/>
            <a:chOff x="1426029" y="1850572"/>
            <a:chExt cx="6193971" cy="4093030"/>
          </a:xfrm>
        </p:grpSpPr>
        <p:sp>
          <p:nvSpPr>
            <p:cNvPr id="20" name="Freeform: Shape 19">
              <a:extLst>
                <a:ext uri="{FF2B5EF4-FFF2-40B4-BE49-F238E27FC236}">
                  <a16:creationId xmlns:a16="http://schemas.microsoft.com/office/drawing/2014/main" id="{3E765E4C-69A4-441B-A03C-FBA2C4EA48C5}"/>
                </a:ext>
              </a:extLst>
            </p:cNvPr>
            <p:cNvSpPr/>
            <p:nvPr/>
          </p:nvSpPr>
          <p:spPr>
            <a:xfrm rot="5400000" flipH="1">
              <a:off x="2476500" y="800102"/>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21" name="Picture 20">
              <a:extLst>
                <a:ext uri="{FF2B5EF4-FFF2-40B4-BE49-F238E27FC236}">
                  <a16:creationId xmlns:a16="http://schemas.microsoft.com/office/drawing/2014/main" id="{1E6FBCF5-9558-4104-B8C5-451F6F7633AE}"/>
                </a:ext>
              </a:extLst>
            </p:cNvPr>
            <p:cNvPicPr>
              <a:picLocks noChangeAspect="1"/>
            </p:cNvPicPr>
            <p:nvPr/>
          </p:nvPicPr>
          <p:blipFill>
            <a:blip r:embed="rId3"/>
            <a:srcRect l="41956" t="30520" r="18072" b="13003"/>
            <a:stretch>
              <a:fillRect/>
            </a:stretch>
          </p:blipFill>
          <p:spPr>
            <a:xfrm rot="5400000" flipH="1">
              <a:off x="2476500" y="800101"/>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p:spPr>
        </p:pic>
      </p:grpSp>
      <p:sp>
        <p:nvSpPr>
          <p:cNvPr id="6" name="Slide Number Placeholder 5">
            <a:extLst>
              <a:ext uri="{FF2B5EF4-FFF2-40B4-BE49-F238E27FC236}">
                <a16:creationId xmlns:a16="http://schemas.microsoft.com/office/drawing/2014/main" id="{AC83790E-8BFC-469D-96E8-F9C16FC64CDA}"/>
              </a:ext>
            </a:extLst>
          </p:cNvPr>
          <p:cNvSpPr>
            <a:spLocks noGrp="1"/>
          </p:cNvSpPr>
          <p:nvPr>
            <p:ph type="sldNum" idx="10"/>
          </p:nvPr>
        </p:nvSpPr>
        <p:spPr>
          <a:xfrm>
            <a:off x="11037018" y="6011305"/>
            <a:ext cx="731600" cy="524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chemeClr val="bg1"/>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lang="en" sz="1200" b="1"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5" name="Text Placeholder 7">
            <a:extLst>
              <a:ext uri="{FF2B5EF4-FFF2-40B4-BE49-F238E27FC236}">
                <a16:creationId xmlns:a16="http://schemas.microsoft.com/office/drawing/2014/main" id="{9940FBCF-C3B4-4851-BDF2-E431FC8F4B4D}"/>
              </a:ext>
            </a:extLst>
          </p:cNvPr>
          <p:cNvSpPr txBox="1">
            <a:spLocks/>
          </p:cNvSpPr>
          <p:nvPr/>
        </p:nvSpPr>
        <p:spPr>
          <a:xfrm>
            <a:off x="371441" y="6352961"/>
            <a:ext cx="5348047" cy="1951154"/>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050" b="0" i="0" u="none" strike="noStrike" kern="0" cap="none" spc="0" normalizeH="0" baseline="0" noProof="0" dirty="0">
                <a:ln>
                  <a:noFill/>
                </a:ln>
                <a:solidFill>
                  <a:srgbClr val="005087"/>
                </a:solidFill>
                <a:effectLst/>
                <a:uLnTx/>
                <a:uFillTx/>
                <a:latin typeface="Arial"/>
                <a:cs typeface="Arial"/>
                <a:sym typeface="Arial"/>
              </a:rPr>
              <a:t>* Learn more about the Assessment phase activities and templates by clicking </a:t>
            </a:r>
            <a:r>
              <a:rPr kumimoji="0" lang="en-US" sz="1050" b="0" i="0" u="none" strike="noStrike" kern="0" cap="none" spc="0" normalizeH="0" baseline="0" noProof="0" dirty="0">
                <a:ln>
                  <a:noFill/>
                </a:ln>
                <a:solidFill>
                  <a:srgbClr val="005087"/>
                </a:solidFill>
                <a:effectLst/>
                <a:uLnTx/>
                <a:uFillTx/>
                <a:latin typeface="Arial"/>
                <a:cs typeface="Arial"/>
                <a:sym typeface="Arial"/>
                <a:hlinkClick r:id="rId4">
                  <a:extLst>
                    <a:ext uri="{A12FA001-AC4F-418D-AE19-62706E023703}">
                      <ahyp:hlinkClr xmlns:ahyp="http://schemas.microsoft.com/office/drawing/2018/hyperlinkcolor" val="tx"/>
                    </a:ext>
                  </a:extLst>
                </a:hlinkClick>
              </a:rPr>
              <a:t>here</a:t>
            </a:r>
            <a:endParaRPr kumimoji="0" lang="en-US" sz="1050" b="0" i="0" u="none" strike="noStrike" kern="0" cap="none" spc="0" normalizeH="0" baseline="0" noProof="0" dirty="0">
              <a:ln>
                <a:noFill/>
              </a:ln>
              <a:solidFill>
                <a:srgbClr val="005087"/>
              </a:solidFill>
              <a:effectLst/>
              <a:uLnTx/>
              <a:uFillTx/>
              <a:latin typeface="Arial"/>
              <a:cs typeface="Arial"/>
              <a:sym typeface="Arial"/>
            </a:endParaRPr>
          </a:p>
        </p:txBody>
      </p:sp>
      <p:cxnSp>
        <p:nvCxnSpPr>
          <p:cNvPr id="22" name="Straight Connector 21">
            <a:extLst>
              <a:ext uri="{FF2B5EF4-FFF2-40B4-BE49-F238E27FC236}">
                <a16:creationId xmlns:a16="http://schemas.microsoft.com/office/drawing/2014/main" id="{56417584-F4CD-489B-90C1-6EEAFC9708F8}"/>
              </a:ext>
            </a:extLst>
          </p:cNvPr>
          <p:cNvCxnSpPr>
            <a:cxnSpLocks/>
          </p:cNvCxnSpPr>
          <p:nvPr/>
        </p:nvCxnSpPr>
        <p:spPr>
          <a:xfrm>
            <a:off x="-4392" y="936183"/>
            <a:ext cx="5895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F1C974B4-7A26-4ECA-BA8F-BD644EE9ED1E}"/>
              </a:ext>
            </a:extLst>
          </p:cNvPr>
          <p:cNvSpPr>
            <a:spLocks noGrp="1"/>
          </p:cNvSpPr>
          <p:nvPr>
            <p:ph type="title"/>
          </p:nvPr>
        </p:nvSpPr>
        <p:spPr>
          <a:xfrm>
            <a:off x="638355" y="310565"/>
            <a:ext cx="10938293" cy="855691"/>
          </a:xfrm>
        </p:spPr>
        <p:txBody>
          <a:bodyPr/>
          <a:lstStyle/>
          <a:p>
            <a:r>
              <a:rPr lang="en-US">
                <a:solidFill>
                  <a:schemeClr val="tx1"/>
                </a:solidFill>
              </a:rPr>
              <a:t>Phase 0: Assessment</a:t>
            </a:r>
          </a:p>
        </p:txBody>
      </p:sp>
      <p:sp>
        <p:nvSpPr>
          <p:cNvPr id="92" name="Text Placeholder 7">
            <a:extLst>
              <a:ext uri="{FF2B5EF4-FFF2-40B4-BE49-F238E27FC236}">
                <a16:creationId xmlns:a16="http://schemas.microsoft.com/office/drawing/2014/main" id="{C2ED52EA-7EA1-4BE9-AFED-54B7E54F8247}"/>
              </a:ext>
            </a:extLst>
          </p:cNvPr>
          <p:cNvSpPr txBox="1">
            <a:spLocks/>
          </p:cNvSpPr>
          <p:nvPr/>
        </p:nvSpPr>
        <p:spPr>
          <a:xfrm>
            <a:off x="7436338" y="678567"/>
            <a:ext cx="4384221" cy="1556143"/>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800" b="1" i="0" u="none" strike="noStrike" kern="0" cap="none" spc="0" normalizeH="0" baseline="0" noProof="0" dirty="0">
                <a:ln>
                  <a:noFill/>
                </a:ln>
                <a:solidFill>
                  <a:srgbClr val="FFFFFF"/>
                </a:solidFill>
                <a:effectLst/>
                <a:uLnTx/>
                <a:uFillTx/>
                <a:latin typeface="Arial"/>
                <a:cs typeface="Arial"/>
                <a:sym typeface="Arial"/>
              </a:rPr>
              <a:t>Key Activities*</a:t>
            </a:r>
          </a:p>
        </p:txBody>
      </p:sp>
      <p:grpSp>
        <p:nvGrpSpPr>
          <p:cNvPr id="29" name="Group 28">
            <a:extLst>
              <a:ext uri="{FF2B5EF4-FFF2-40B4-BE49-F238E27FC236}">
                <a16:creationId xmlns:a16="http://schemas.microsoft.com/office/drawing/2014/main" id="{73FAFD4E-FFF3-4E22-AF6F-67B3494BE252}"/>
              </a:ext>
            </a:extLst>
          </p:cNvPr>
          <p:cNvGrpSpPr/>
          <p:nvPr/>
        </p:nvGrpSpPr>
        <p:grpSpPr>
          <a:xfrm>
            <a:off x="371441" y="1196308"/>
            <a:ext cx="6128531" cy="2261511"/>
            <a:chOff x="4178460" y="2310128"/>
            <a:chExt cx="5973459" cy="2178355"/>
          </a:xfrm>
        </p:grpSpPr>
        <p:grpSp>
          <p:nvGrpSpPr>
            <p:cNvPr id="30" name="Group 29">
              <a:extLst>
                <a:ext uri="{FF2B5EF4-FFF2-40B4-BE49-F238E27FC236}">
                  <a16:creationId xmlns:a16="http://schemas.microsoft.com/office/drawing/2014/main" id="{FC2AA452-2269-485F-86B0-A6FCC3A96A5F}"/>
                </a:ext>
              </a:extLst>
            </p:cNvPr>
            <p:cNvGrpSpPr/>
            <p:nvPr/>
          </p:nvGrpSpPr>
          <p:grpSpPr>
            <a:xfrm>
              <a:off x="4178460" y="2310128"/>
              <a:ext cx="5973459" cy="2178355"/>
              <a:chOff x="2040080" y="1525430"/>
              <a:chExt cx="8111840" cy="2958163"/>
            </a:xfrm>
          </p:grpSpPr>
          <p:grpSp>
            <p:nvGrpSpPr>
              <p:cNvPr id="32" name="Group 31">
                <a:extLst>
                  <a:ext uri="{FF2B5EF4-FFF2-40B4-BE49-F238E27FC236}">
                    <a16:creationId xmlns:a16="http://schemas.microsoft.com/office/drawing/2014/main" id="{039362E3-C678-4EC8-95A8-B6331C44C1EE}"/>
                  </a:ext>
                </a:extLst>
              </p:cNvPr>
              <p:cNvGrpSpPr/>
              <p:nvPr/>
            </p:nvGrpSpPr>
            <p:grpSpPr>
              <a:xfrm>
                <a:off x="2040080" y="1525430"/>
                <a:ext cx="8111840" cy="2958163"/>
                <a:chOff x="2040080" y="1525430"/>
                <a:chExt cx="8111840" cy="2958163"/>
              </a:xfrm>
            </p:grpSpPr>
            <p:grpSp>
              <p:nvGrpSpPr>
                <p:cNvPr id="38" name="Group 37">
                  <a:extLst>
                    <a:ext uri="{FF2B5EF4-FFF2-40B4-BE49-F238E27FC236}">
                      <a16:creationId xmlns:a16="http://schemas.microsoft.com/office/drawing/2014/main" id="{8EA57803-BA10-4336-84E4-4ADE1E37E102}"/>
                    </a:ext>
                  </a:extLst>
                </p:cNvPr>
                <p:cNvGrpSpPr/>
                <p:nvPr/>
              </p:nvGrpSpPr>
              <p:grpSpPr>
                <a:xfrm>
                  <a:off x="2040080" y="1525430"/>
                  <a:ext cx="8111840" cy="2958163"/>
                  <a:chOff x="2040080" y="1525430"/>
                  <a:chExt cx="8111840" cy="2958163"/>
                </a:xfrm>
              </p:grpSpPr>
              <p:pic>
                <p:nvPicPr>
                  <p:cNvPr id="41" name="Picture 40">
                    <a:hlinkClick r:id="rId4"/>
                    <a:extLst>
                      <a:ext uri="{FF2B5EF4-FFF2-40B4-BE49-F238E27FC236}">
                        <a16:creationId xmlns:a16="http://schemas.microsoft.com/office/drawing/2014/main" id="{9FFA419F-A15F-46F3-8B4A-9569C7D03D64}"/>
                      </a:ext>
                    </a:extLst>
                  </p:cNvPr>
                  <p:cNvPicPr>
                    <a:picLocks noChangeAspect="1"/>
                  </p:cNvPicPr>
                  <p:nvPr/>
                </p:nvPicPr>
                <p:blipFill>
                  <a:blip r:embed="rId5"/>
                  <a:stretch>
                    <a:fillRect/>
                  </a:stretch>
                </p:blipFill>
                <p:spPr>
                  <a:xfrm>
                    <a:off x="2040080" y="1525430"/>
                    <a:ext cx="8111840" cy="2958163"/>
                  </a:xfrm>
                  <a:prstGeom prst="rect">
                    <a:avLst/>
                  </a:prstGeom>
                  <a:solidFill>
                    <a:schemeClr val="bg1">
                      <a:lumMod val="95000"/>
                      <a:alpha val="51000"/>
                    </a:schemeClr>
                  </a:solidFill>
                  <a:ln>
                    <a:noFill/>
                  </a:ln>
                </p:spPr>
              </p:pic>
              <p:sp>
                <p:nvSpPr>
                  <p:cNvPr id="42" name="Freeform: Shape 41">
                    <a:extLst>
                      <a:ext uri="{FF2B5EF4-FFF2-40B4-BE49-F238E27FC236}">
                        <a16:creationId xmlns:a16="http://schemas.microsoft.com/office/drawing/2014/main" id="{BD5B668C-69A6-486F-81D8-08F1EB9631EC}"/>
                      </a:ext>
                    </a:extLst>
                  </p:cNvPr>
                  <p:cNvSpPr/>
                  <p:nvPr/>
                </p:nvSpPr>
                <p:spPr>
                  <a:xfrm rot="5400000">
                    <a:off x="4689326" y="-915401"/>
                    <a:ext cx="2776846" cy="7931925"/>
                  </a:xfrm>
                  <a:custGeom>
                    <a:avLst/>
                    <a:gdLst>
                      <a:gd name="connsiteX0" fmla="*/ 2550558 w 2776846"/>
                      <a:gd name="connsiteY0" fmla="*/ 7457379 h 7931924"/>
                      <a:gd name="connsiteX1" fmla="*/ 2659841 w 2776846"/>
                      <a:gd name="connsiteY1" fmla="*/ 7331467 h 7931924"/>
                      <a:gd name="connsiteX2" fmla="*/ 2774802 w 2776846"/>
                      <a:gd name="connsiteY2" fmla="*/ 7457379 h 7931924"/>
                      <a:gd name="connsiteX3" fmla="*/ 1985050 w 2776846"/>
                      <a:gd name="connsiteY3" fmla="*/ 6120015 h 7931924"/>
                      <a:gd name="connsiteX4" fmla="*/ 2485172 w 2776846"/>
                      <a:gd name="connsiteY4" fmla="*/ 6120015 h 7931924"/>
                      <a:gd name="connsiteX5" fmla="*/ 2487552 w 2776846"/>
                      <a:gd name="connsiteY5" fmla="*/ 7618467 h 7931924"/>
                      <a:gd name="connsiteX6" fmla="*/ 2437624 w 2776846"/>
                      <a:gd name="connsiteY6" fmla="*/ 7898107 h 7931924"/>
                      <a:gd name="connsiteX7" fmla="*/ 2001854 w 2776846"/>
                      <a:gd name="connsiteY7" fmla="*/ 7888547 h 7931924"/>
                      <a:gd name="connsiteX8" fmla="*/ 1987431 w 2776846"/>
                      <a:gd name="connsiteY8" fmla="*/ 7628026 h 7931924"/>
                      <a:gd name="connsiteX9" fmla="*/ 1974837 w 2776846"/>
                      <a:gd name="connsiteY9" fmla="*/ 114966 h 7931924"/>
                      <a:gd name="connsiteX10" fmla="*/ 1984579 w 2776846"/>
                      <a:gd name="connsiteY10" fmla="*/ 34809 h 7931924"/>
                      <a:gd name="connsiteX11" fmla="*/ 2035863 w 2776846"/>
                      <a:gd name="connsiteY11" fmla="*/ 6176 h 7931924"/>
                      <a:gd name="connsiteX12" fmla="*/ 2413375 w 2776846"/>
                      <a:gd name="connsiteY12" fmla="*/ 799 h 7931924"/>
                      <a:gd name="connsiteX13" fmla="*/ 2469312 w 2776846"/>
                      <a:gd name="connsiteY13" fmla="*/ 42566 h 7931924"/>
                      <a:gd name="connsiteX14" fmla="*/ 2486362 w 2776846"/>
                      <a:gd name="connsiteY14" fmla="*/ 114966 h 7931924"/>
                      <a:gd name="connsiteX15" fmla="*/ 1974837 w 2776846"/>
                      <a:gd name="connsiteY15" fmla="*/ 114966 h 7931924"/>
                      <a:gd name="connsiteX16" fmla="*/ 1458040 w 2776846"/>
                      <a:gd name="connsiteY16" fmla="*/ 6120014 h 7931924"/>
                      <a:gd name="connsiteX17" fmla="*/ 1958162 w 2776846"/>
                      <a:gd name="connsiteY17" fmla="*/ 6120014 h 7931924"/>
                      <a:gd name="connsiteX18" fmla="*/ 1960542 w 2776846"/>
                      <a:gd name="connsiteY18" fmla="*/ 7618465 h 7931924"/>
                      <a:gd name="connsiteX19" fmla="*/ 1910614 w 2776846"/>
                      <a:gd name="connsiteY19" fmla="*/ 7898106 h 7931924"/>
                      <a:gd name="connsiteX20" fmla="*/ 1474844 w 2776846"/>
                      <a:gd name="connsiteY20" fmla="*/ 7888546 h 7931924"/>
                      <a:gd name="connsiteX21" fmla="*/ 1460421 w 2776846"/>
                      <a:gd name="connsiteY21" fmla="*/ 7628025 h 7931924"/>
                      <a:gd name="connsiteX22" fmla="*/ 922485 w 2776846"/>
                      <a:gd name="connsiteY22" fmla="*/ 6126363 h 7931924"/>
                      <a:gd name="connsiteX23" fmla="*/ 1422607 w 2776846"/>
                      <a:gd name="connsiteY23" fmla="*/ 6126363 h 7931924"/>
                      <a:gd name="connsiteX24" fmla="*/ 1424987 w 2776846"/>
                      <a:gd name="connsiteY24" fmla="*/ 7624814 h 7931924"/>
                      <a:gd name="connsiteX25" fmla="*/ 1375059 w 2776846"/>
                      <a:gd name="connsiteY25" fmla="*/ 7904455 h 7931924"/>
                      <a:gd name="connsiteX26" fmla="*/ 939289 w 2776846"/>
                      <a:gd name="connsiteY26" fmla="*/ 7894894 h 7931924"/>
                      <a:gd name="connsiteX27" fmla="*/ 924866 w 2776846"/>
                      <a:gd name="connsiteY27" fmla="*/ 7634374 h 7931924"/>
                      <a:gd name="connsiteX28" fmla="*/ 399887 w 2776846"/>
                      <a:gd name="connsiteY28" fmla="*/ 6122392 h 7931924"/>
                      <a:gd name="connsiteX29" fmla="*/ 900009 w 2776846"/>
                      <a:gd name="connsiteY29" fmla="*/ 6122392 h 7931924"/>
                      <a:gd name="connsiteX30" fmla="*/ 902389 w 2776846"/>
                      <a:gd name="connsiteY30" fmla="*/ 7620844 h 7931924"/>
                      <a:gd name="connsiteX31" fmla="*/ 852461 w 2776846"/>
                      <a:gd name="connsiteY31" fmla="*/ 7900484 h 7931924"/>
                      <a:gd name="connsiteX32" fmla="*/ 416691 w 2776846"/>
                      <a:gd name="connsiteY32" fmla="*/ 7890924 h 7931924"/>
                      <a:gd name="connsiteX33" fmla="*/ 402268 w 2776846"/>
                      <a:gd name="connsiteY33" fmla="*/ 7630403 h 7931924"/>
                      <a:gd name="connsiteX34" fmla="*/ 206008 w 2776846"/>
                      <a:gd name="connsiteY34" fmla="*/ 3146585 h 7931924"/>
                      <a:gd name="connsiteX35" fmla="*/ 399890 w 2776846"/>
                      <a:gd name="connsiteY35" fmla="*/ 3146585 h 7931924"/>
                      <a:gd name="connsiteX36" fmla="*/ 399890 w 2776846"/>
                      <a:gd name="connsiteY36" fmla="*/ 3103520 h 7931924"/>
                      <a:gd name="connsiteX37" fmla="*/ 250030 w 2776846"/>
                      <a:gd name="connsiteY37" fmla="*/ 3103520 h 7931924"/>
                      <a:gd name="connsiteX38" fmla="*/ 233485 w 2776846"/>
                      <a:gd name="connsiteY38" fmla="*/ 3128059 h 7931924"/>
                      <a:gd name="connsiteX39" fmla="*/ 198879 w 2776846"/>
                      <a:gd name="connsiteY39" fmla="*/ 1121877 h 7931924"/>
                      <a:gd name="connsiteX40" fmla="*/ 399890 w 2776846"/>
                      <a:gd name="connsiteY40" fmla="*/ 1121877 h 7931924"/>
                      <a:gd name="connsiteX41" fmla="*/ 399890 w 2776846"/>
                      <a:gd name="connsiteY41" fmla="*/ 1077062 h 7931924"/>
                      <a:gd name="connsiteX42" fmla="*/ 245372 w 2776846"/>
                      <a:gd name="connsiteY42" fmla="*/ 1077062 h 7931924"/>
                      <a:gd name="connsiteX43" fmla="*/ 228723 w 2776846"/>
                      <a:gd name="connsiteY43" fmla="*/ 1101756 h 7931924"/>
                      <a:gd name="connsiteX44" fmla="*/ 146144 w 2776846"/>
                      <a:gd name="connsiteY44" fmla="*/ 4165183 h 7931924"/>
                      <a:gd name="connsiteX45" fmla="*/ 400782 w 2776846"/>
                      <a:gd name="connsiteY45" fmla="*/ 4165183 h 7931924"/>
                      <a:gd name="connsiteX46" fmla="*/ 400782 w 2776846"/>
                      <a:gd name="connsiteY46" fmla="*/ 4106266 h 7931924"/>
                      <a:gd name="connsiteX47" fmla="*/ 244555 w 2776846"/>
                      <a:gd name="connsiteY47" fmla="*/ 4106266 h 7931924"/>
                      <a:gd name="connsiteX48" fmla="*/ 229615 w 2776846"/>
                      <a:gd name="connsiteY48" fmla="*/ 4128425 h 7931924"/>
                      <a:gd name="connsiteX49" fmla="*/ 187470 w 2776846"/>
                      <a:gd name="connsiteY49" fmla="*/ 4156840 h 7931924"/>
                      <a:gd name="connsiteX50" fmla="*/ 0 w 2776846"/>
                      <a:gd name="connsiteY50" fmla="*/ 5048041 h 7931924"/>
                      <a:gd name="connsiteX51" fmla="*/ 82480 w 2776846"/>
                      <a:gd name="connsiteY51" fmla="*/ 4925873 h 7931924"/>
                      <a:gd name="connsiteX52" fmla="*/ 122886 w 2776846"/>
                      <a:gd name="connsiteY52" fmla="*/ 4917864 h 7931924"/>
                      <a:gd name="connsiteX53" fmla="*/ 122886 w 2776846"/>
                      <a:gd name="connsiteY53" fmla="*/ 4165183 h 7931924"/>
                      <a:gd name="connsiteX54" fmla="*/ 125578 w 2776846"/>
                      <a:gd name="connsiteY54" fmla="*/ 4165183 h 7931924"/>
                      <a:gd name="connsiteX55" fmla="*/ 84252 w 2776846"/>
                      <a:gd name="connsiteY55" fmla="*/ 4156840 h 7931924"/>
                      <a:gd name="connsiteX56" fmla="*/ 3273 w 2776846"/>
                      <a:gd name="connsiteY56" fmla="*/ 4034671 h 7931924"/>
                      <a:gd name="connsiteX57" fmla="*/ 84252 w 2776846"/>
                      <a:gd name="connsiteY57" fmla="*/ 3912502 h 7931924"/>
                      <a:gd name="connsiteX58" fmla="*/ 123779 w 2776846"/>
                      <a:gd name="connsiteY58" fmla="*/ 3904522 h 7931924"/>
                      <a:gd name="connsiteX59" fmla="*/ 123779 w 2776846"/>
                      <a:gd name="connsiteY59" fmla="*/ 3163673 h 7931924"/>
                      <a:gd name="connsiteX60" fmla="*/ 88122 w 2776846"/>
                      <a:gd name="connsiteY60" fmla="*/ 3156474 h 7931924"/>
                      <a:gd name="connsiteX61" fmla="*/ 7143 w 2776846"/>
                      <a:gd name="connsiteY61" fmla="*/ 3034306 h 7931924"/>
                      <a:gd name="connsiteX62" fmla="*/ 88122 w 2776846"/>
                      <a:gd name="connsiteY62" fmla="*/ 2912137 h 7931924"/>
                      <a:gd name="connsiteX63" fmla="*/ 122887 w 2776846"/>
                      <a:gd name="connsiteY63" fmla="*/ 2905118 h 7931924"/>
                      <a:gd name="connsiteX64" fmla="*/ 122887 w 2776846"/>
                      <a:gd name="connsiteY64" fmla="*/ 2143839 h 7931924"/>
                      <a:gd name="connsiteX65" fmla="*/ 399890 w 2776846"/>
                      <a:gd name="connsiteY65" fmla="*/ 2143839 h 7931924"/>
                      <a:gd name="connsiteX66" fmla="*/ 399890 w 2776846"/>
                      <a:gd name="connsiteY66" fmla="*/ 2081558 h 7931924"/>
                      <a:gd name="connsiteX67" fmla="*/ 248579 w 2776846"/>
                      <a:gd name="connsiteY67" fmla="*/ 2081558 h 7931924"/>
                      <a:gd name="connsiteX68" fmla="*/ 233639 w 2776846"/>
                      <a:gd name="connsiteY68" fmla="*/ 2103716 h 7931924"/>
                      <a:gd name="connsiteX69" fmla="*/ 139885 w 2776846"/>
                      <a:gd name="connsiteY69" fmla="*/ 2142551 h 7931924"/>
                      <a:gd name="connsiteX70" fmla="*/ 7297 w 2776846"/>
                      <a:gd name="connsiteY70" fmla="*/ 2009963 h 7931924"/>
                      <a:gd name="connsiteX71" fmla="*/ 88276 w 2776846"/>
                      <a:gd name="connsiteY71" fmla="*/ 1887794 h 7931924"/>
                      <a:gd name="connsiteX72" fmla="*/ 122887 w 2776846"/>
                      <a:gd name="connsiteY72" fmla="*/ 1880807 h 7931924"/>
                      <a:gd name="connsiteX73" fmla="*/ 122887 w 2776846"/>
                      <a:gd name="connsiteY73" fmla="*/ 1138151 h 7931924"/>
                      <a:gd name="connsiteX74" fmla="*/ 83360 w 2776846"/>
                      <a:gd name="connsiteY74" fmla="*/ 1130170 h 7931924"/>
                      <a:gd name="connsiteX75" fmla="*/ 2381 w 2776846"/>
                      <a:gd name="connsiteY75" fmla="*/ 1008002 h 7931924"/>
                      <a:gd name="connsiteX76" fmla="*/ 83360 w 2776846"/>
                      <a:gd name="connsiteY76" fmla="*/ 885833 h 7931924"/>
                      <a:gd name="connsiteX77" fmla="*/ 122887 w 2776846"/>
                      <a:gd name="connsiteY77" fmla="*/ 877853 h 7931924"/>
                      <a:gd name="connsiteX78" fmla="*/ 122887 w 2776846"/>
                      <a:gd name="connsiteY78" fmla="*/ 117381 h 7931924"/>
                      <a:gd name="connsiteX79" fmla="*/ 402640 w 2776846"/>
                      <a:gd name="connsiteY79" fmla="*/ 117381 h 7931924"/>
                      <a:gd name="connsiteX80" fmla="*/ 411792 w 2776846"/>
                      <a:gd name="connsiteY80" fmla="*/ 40361 h 7931924"/>
                      <a:gd name="connsiteX81" fmla="*/ 461933 w 2776846"/>
                      <a:gd name="connsiteY81" fmla="*/ 11728 h 7931924"/>
                      <a:gd name="connsiteX82" fmla="*/ 831029 w 2776846"/>
                      <a:gd name="connsiteY82" fmla="*/ 6351 h 7931924"/>
                      <a:gd name="connsiteX83" fmla="*/ 885719 w 2776846"/>
                      <a:gd name="connsiteY83" fmla="*/ 48118 h 7931924"/>
                      <a:gd name="connsiteX84" fmla="*/ 901667 w 2776846"/>
                      <a:gd name="connsiteY84" fmla="*/ 117381 h 7931924"/>
                      <a:gd name="connsiteX85" fmla="*/ 926895 w 2776846"/>
                      <a:gd name="connsiteY85" fmla="*/ 117381 h 7931924"/>
                      <a:gd name="connsiteX86" fmla="*/ 936365 w 2776846"/>
                      <a:gd name="connsiteY86" fmla="*/ 39958 h 7931924"/>
                      <a:gd name="connsiteX87" fmla="*/ 987978 w 2776846"/>
                      <a:gd name="connsiteY87" fmla="*/ 11325 h 7931924"/>
                      <a:gd name="connsiteX88" fmla="*/ 1367910 w 2776846"/>
                      <a:gd name="connsiteY88" fmla="*/ 5948 h 7931924"/>
                      <a:gd name="connsiteX89" fmla="*/ 1424205 w 2776846"/>
                      <a:gd name="connsiteY89" fmla="*/ 47715 h 7931924"/>
                      <a:gd name="connsiteX90" fmla="*/ 1440717 w 2776846"/>
                      <a:gd name="connsiteY90" fmla="*/ 117381 h 7931924"/>
                      <a:gd name="connsiteX91" fmla="*/ 1458413 w 2776846"/>
                      <a:gd name="connsiteY91" fmla="*/ 117381 h 7931924"/>
                      <a:gd name="connsiteX92" fmla="*/ 1467565 w 2776846"/>
                      <a:gd name="connsiteY92" fmla="*/ 40362 h 7931924"/>
                      <a:gd name="connsiteX93" fmla="*/ 1517706 w 2776846"/>
                      <a:gd name="connsiteY93" fmla="*/ 11729 h 7931924"/>
                      <a:gd name="connsiteX94" fmla="*/ 1886802 w 2776846"/>
                      <a:gd name="connsiteY94" fmla="*/ 6352 h 7931924"/>
                      <a:gd name="connsiteX95" fmla="*/ 1941492 w 2776846"/>
                      <a:gd name="connsiteY95" fmla="*/ 48119 h 7931924"/>
                      <a:gd name="connsiteX96" fmla="*/ 1957439 w 2776846"/>
                      <a:gd name="connsiteY96" fmla="*/ 117381 h 7931924"/>
                      <a:gd name="connsiteX97" fmla="*/ 2649646 w 2776846"/>
                      <a:gd name="connsiteY97" fmla="*/ 117381 h 7931924"/>
                      <a:gd name="connsiteX98" fmla="*/ 2649646 w 2776846"/>
                      <a:gd name="connsiteY98" fmla="*/ 1075951 h 7931924"/>
                      <a:gd name="connsiteX99" fmla="*/ 2776846 w 2776846"/>
                      <a:gd name="connsiteY99" fmla="*/ 1206143 h 7931924"/>
                      <a:gd name="connsiteX100" fmla="*/ 2649646 w 2776846"/>
                      <a:gd name="connsiteY100" fmla="*/ 1206143 h 7931924"/>
                      <a:gd name="connsiteX101" fmla="*/ 2649646 w 2776846"/>
                      <a:gd name="connsiteY101" fmla="*/ 2081558 h 7931924"/>
                      <a:gd name="connsiteX102" fmla="*/ 2646030 w 2776846"/>
                      <a:gd name="connsiteY102" fmla="*/ 2081558 h 7931924"/>
                      <a:gd name="connsiteX103" fmla="*/ 2774802 w 2776846"/>
                      <a:gd name="connsiteY103" fmla="*/ 2213360 h 7931924"/>
                      <a:gd name="connsiteX104" fmla="*/ 2649646 w 2776846"/>
                      <a:gd name="connsiteY104" fmla="*/ 2213360 h 7931924"/>
                      <a:gd name="connsiteX105" fmla="*/ 2649646 w 2776846"/>
                      <a:gd name="connsiteY105" fmla="*/ 3103520 h 7931924"/>
                      <a:gd name="connsiteX106" fmla="*/ 2645700 w 2776846"/>
                      <a:gd name="connsiteY106" fmla="*/ 3103520 h 7931924"/>
                      <a:gd name="connsiteX107" fmla="*/ 2766128 w 2776846"/>
                      <a:gd name="connsiteY107" fmla="*/ 3230470 h 7931924"/>
                      <a:gd name="connsiteX108" fmla="*/ 2650538 w 2776846"/>
                      <a:gd name="connsiteY108" fmla="*/ 3230470 h 7931924"/>
                      <a:gd name="connsiteX109" fmla="*/ 2650538 w 2776846"/>
                      <a:gd name="connsiteY109" fmla="*/ 4106266 h 7931924"/>
                      <a:gd name="connsiteX110" fmla="*/ 2638673 w 2776846"/>
                      <a:gd name="connsiteY110" fmla="*/ 4106266 h 7931924"/>
                      <a:gd name="connsiteX111" fmla="*/ 2755472 w 2776846"/>
                      <a:gd name="connsiteY111" fmla="*/ 4229390 h 7931924"/>
                      <a:gd name="connsiteX112" fmla="*/ 2649645 w 2776846"/>
                      <a:gd name="connsiteY112" fmla="*/ 4229390 h 7931924"/>
                      <a:gd name="connsiteX113" fmla="*/ 2649645 w 2776846"/>
                      <a:gd name="connsiteY113" fmla="*/ 5107568 h 7931924"/>
                      <a:gd name="connsiteX114" fmla="*/ 254042 w 2776846"/>
                      <a:gd name="connsiteY114" fmla="*/ 5107568 h 7931924"/>
                      <a:gd name="connsiteX115" fmla="*/ 230538 w 2776846"/>
                      <a:gd name="connsiteY115" fmla="*/ 5141795 h 7931924"/>
                      <a:gd name="connsiteX116" fmla="*/ 135046 w 2776846"/>
                      <a:gd name="connsiteY116" fmla="*/ 5180629 h 7931924"/>
                      <a:gd name="connsiteX117" fmla="*/ 0 w 2776846"/>
                      <a:gd name="connsiteY117" fmla="*/ 5048041 h 793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776846" h="7931924">
                        <a:moveTo>
                          <a:pt x="2550558" y="7457379"/>
                        </a:moveTo>
                        <a:lnTo>
                          <a:pt x="2659841" y="7331467"/>
                        </a:lnTo>
                        <a:lnTo>
                          <a:pt x="2774802" y="7457379"/>
                        </a:lnTo>
                        <a:close/>
                        <a:moveTo>
                          <a:pt x="1985050" y="6120015"/>
                        </a:moveTo>
                        <a:cubicBezTo>
                          <a:pt x="2150964" y="6121609"/>
                          <a:pt x="2319258" y="6118421"/>
                          <a:pt x="2485172" y="6120015"/>
                        </a:cubicBezTo>
                        <a:lnTo>
                          <a:pt x="2487552" y="7618467"/>
                        </a:lnTo>
                        <a:cubicBezTo>
                          <a:pt x="2470499" y="7898880"/>
                          <a:pt x="2516589" y="7852695"/>
                          <a:pt x="2437624" y="7898107"/>
                        </a:cubicBezTo>
                        <a:cubicBezTo>
                          <a:pt x="2358659" y="7943519"/>
                          <a:pt x="2058233" y="7927186"/>
                          <a:pt x="2001854" y="7888547"/>
                        </a:cubicBezTo>
                        <a:cubicBezTo>
                          <a:pt x="1969697" y="7734782"/>
                          <a:pt x="1996581" y="7941504"/>
                          <a:pt x="1987431" y="7628026"/>
                        </a:cubicBezTo>
                        <a:close/>
                        <a:moveTo>
                          <a:pt x="1974837" y="114966"/>
                        </a:moveTo>
                        <a:lnTo>
                          <a:pt x="1984579" y="34809"/>
                        </a:lnTo>
                        <a:cubicBezTo>
                          <a:pt x="1993938" y="14681"/>
                          <a:pt x="2002973" y="16049"/>
                          <a:pt x="2035863" y="6176"/>
                        </a:cubicBezTo>
                        <a:cubicBezTo>
                          <a:pt x="2093528" y="3695"/>
                          <a:pt x="2332610" y="-2117"/>
                          <a:pt x="2413375" y="799"/>
                        </a:cubicBezTo>
                        <a:cubicBezTo>
                          <a:pt x="2481963" y="34671"/>
                          <a:pt x="2451870" y="24561"/>
                          <a:pt x="2469312" y="42566"/>
                        </a:cubicBezTo>
                        <a:lnTo>
                          <a:pt x="2486362" y="114966"/>
                        </a:lnTo>
                        <a:cubicBezTo>
                          <a:pt x="2316665" y="115069"/>
                          <a:pt x="2144534" y="114864"/>
                          <a:pt x="1974837" y="114966"/>
                        </a:cubicBezTo>
                        <a:close/>
                        <a:moveTo>
                          <a:pt x="1458040" y="6120014"/>
                        </a:moveTo>
                        <a:cubicBezTo>
                          <a:pt x="1623954" y="6121608"/>
                          <a:pt x="1792248" y="6118421"/>
                          <a:pt x="1958162" y="6120014"/>
                        </a:cubicBezTo>
                        <a:lnTo>
                          <a:pt x="1960542" y="7618465"/>
                        </a:lnTo>
                        <a:cubicBezTo>
                          <a:pt x="1943489" y="7898880"/>
                          <a:pt x="1989579" y="7852694"/>
                          <a:pt x="1910614" y="7898106"/>
                        </a:cubicBezTo>
                        <a:cubicBezTo>
                          <a:pt x="1831649" y="7943518"/>
                          <a:pt x="1531223" y="7927185"/>
                          <a:pt x="1474844" y="7888546"/>
                        </a:cubicBezTo>
                        <a:cubicBezTo>
                          <a:pt x="1442687" y="7734781"/>
                          <a:pt x="1469571" y="7941502"/>
                          <a:pt x="1460421" y="7628025"/>
                        </a:cubicBezTo>
                        <a:close/>
                        <a:moveTo>
                          <a:pt x="922485" y="6126363"/>
                        </a:moveTo>
                        <a:cubicBezTo>
                          <a:pt x="1088399" y="6127957"/>
                          <a:pt x="1256693" y="6124769"/>
                          <a:pt x="1422607" y="6126363"/>
                        </a:cubicBezTo>
                        <a:lnTo>
                          <a:pt x="1424987" y="7624814"/>
                        </a:lnTo>
                        <a:cubicBezTo>
                          <a:pt x="1407934" y="7905229"/>
                          <a:pt x="1454024" y="7859043"/>
                          <a:pt x="1375059" y="7904455"/>
                        </a:cubicBezTo>
                        <a:cubicBezTo>
                          <a:pt x="1296094" y="7949866"/>
                          <a:pt x="995668" y="7933534"/>
                          <a:pt x="939289" y="7894894"/>
                        </a:cubicBezTo>
                        <a:cubicBezTo>
                          <a:pt x="907132" y="7741130"/>
                          <a:pt x="934016" y="7947851"/>
                          <a:pt x="924866" y="7634374"/>
                        </a:cubicBezTo>
                        <a:close/>
                        <a:moveTo>
                          <a:pt x="399887" y="6122392"/>
                        </a:moveTo>
                        <a:cubicBezTo>
                          <a:pt x="565801" y="6123986"/>
                          <a:pt x="734095" y="6120798"/>
                          <a:pt x="900009" y="6122392"/>
                        </a:cubicBezTo>
                        <a:lnTo>
                          <a:pt x="902389" y="7620844"/>
                        </a:lnTo>
                        <a:cubicBezTo>
                          <a:pt x="885336" y="7901259"/>
                          <a:pt x="931426" y="7855072"/>
                          <a:pt x="852461" y="7900484"/>
                        </a:cubicBezTo>
                        <a:cubicBezTo>
                          <a:pt x="773496" y="7945897"/>
                          <a:pt x="473070" y="7929564"/>
                          <a:pt x="416691" y="7890924"/>
                        </a:cubicBezTo>
                        <a:cubicBezTo>
                          <a:pt x="384534" y="7737160"/>
                          <a:pt x="411418" y="7943880"/>
                          <a:pt x="402268" y="7630403"/>
                        </a:cubicBezTo>
                        <a:close/>
                        <a:moveTo>
                          <a:pt x="206008" y="3146585"/>
                        </a:moveTo>
                        <a:lnTo>
                          <a:pt x="399890" y="3146585"/>
                        </a:lnTo>
                        <a:lnTo>
                          <a:pt x="399890" y="3103520"/>
                        </a:lnTo>
                        <a:lnTo>
                          <a:pt x="250030" y="3103520"/>
                        </a:lnTo>
                        <a:lnTo>
                          <a:pt x="233485" y="3128059"/>
                        </a:lnTo>
                        <a:close/>
                        <a:moveTo>
                          <a:pt x="198879" y="1121877"/>
                        </a:moveTo>
                        <a:lnTo>
                          <a:pt x="399890" y="1121877"/>
                        </a:lnTo>
                        <a:lnTo>
                          <a:pt x="399890" y="1077062"/>
                        </a:lnTo>
                        <a:lnTo>
                          <a:pt x="245372" y="1077062"/>
                        </a:lnTo>
                        <a:lnTo>
                          <a:pt x="228723" y="1101756"/>
                        </a:lnTo>
                        <a:close/>
                        <a:moveTo>
                          <a:pt x="146144" y="4165183"/>
                        </a:moveTo>
                        <a:lnTo>
                          <a:pt x="400782" y="4165183"/>
                        </a:lnTo>
                        <a:lnTo>
                          <a:pt x="400782" y="4106266"/>
                        </a:lnTo>
                        <a:lnTo>
                          <a:pt x="244555" y="4106266"/>
                        </a:lnTo>
                        <a:lnTo>
                          <a:pt x="229615" y="4128425"/>
                        </a:lnTo>
                        <a:cubicBezTo>
                          <a:pt x="217618" y="4140422"/>
                          <a:pt x="203333" y="4150130"/>
                          <a:pt x="187470" y="4156840"/>
                        </a:cubicBezTo>
                        <a:close/>
                        <a:moveTo>
                          <a:pt x="0" y="5048041"/>
                        </a:moveTo>
                        <a:cubicBezTo>
                          <a:pt x="0" y="4993122"/>
                          <a:pt x="34010" y="4946001"/>
                          <a:pt x="82480" y="4925873"/>
                        </a:cubicBezTo>
                        <a:lnTo>
                          <a:pt x="122886" y="4917864"/>
                        </a:lnTo>
                        <a:lnTo>
                          <a:pt x="122886" y="4165183"/>
                        </a:lnTo>
                        <a:lnTo>
                          <a:pt x="125578" y="4165183"/>
                        </a:lnTo>
                        <a:lnTo>
                          <a:pt x="84252" y="4156840"/>
                        </a:lnTo>
                        <a:cubicBezTo>
                          <a:pt x="36664" y="4136712"/>
                          <a:pt x="3273" y="4089591"/>
                          <a:pt x="3273" y="4034671"/>
                        </a:cubicBezTo>
                        <a:cubicBezTo>
                          <a:pt x="3273" y="3979752"/>
                          <a:pt x="36664" y="3932630"/>
                          <a:pt x="84252" y="3912502"/>
                        </a:cubicBezTo>
                        <a:lnTo>
                          <a:pt x="123779" y="3904522"/>
                        </a:lnTo>
                        <a:lnTo>
                          <a:pt x="123779" y="3163673"/>
                        </a:lnTo>
                        <a:lnTo>
                          <a:pt x="88122" y="3156474"/>
                        </a:lnTo>
                        <a:cubicBezTo>
                          <a:pt x="40534" y="3136346"/>
                          <a:pt x="7143" y="3089225"/>
                          <a:pt x="7143" y="3034306"/>
                        </a:cubicBezTo>
                        <a:cubicBezTo>
                          <a:pt x="7143" y="2979386"/>
                          <a:pt x="40534" y="2932265"/>
                          <a:pt x="88122" y="2912137"/>
                        </a:cubicBezTo>
                        <a:lnTo>
                          <a:pt x="122887" y="2905118"/>
                        </a:lnTo>
                        <a:lnTo>
                          <a:pt x="122887" y="2143839"/>
                        </a:lnTo>
                        <a:lnTo>
                          <a:pt x="399890" y="2143839"/>
                        </a:lnTo>
                        <a:lnTo>
                          <a:pt x="399890" y="2081558"/>
                        </a:lnTo>
                        <a:lnTo>
                          <a:pt x="248579" y="2081558"/>
                        </a:lnTo>
                        <a:lnTo>
                          <a:pt x="233639" y="2103716"/>
                        </a:lnTo>
                        <a:cubicBezTo>
                          <a:pt x="209645" y="2127710"/>
                          <a:pt x="176498" y="2142551"/>
                          <a:pt x="139885" y="2142551"/>
                        </a:cubicBezTo>
                        <a:cubicBezTo>
                          <a:pt x="66659" y="2142551"/>
                          <a:pt x="7297" y="2083189"/>
                          <a:pt x="7297" y="2009963"/>
                        </a:cubicBezTo>
                        <a:cubicBezTo>
                          <a:pt x="7297" y="1955043"/>
                          <a:pt x="40688" y="1907922"/>
                          <a:pt x="88276" y="1887794"/>
                        </a:cubicBezTo>
                        <a:lnTo>
                          <a:pt x="122887" y="1880807"/>
                        </a:lnTo>
                        <a:lnTo>
                          <a:pt x="122887" y="1138151"/>
                        </a:lnTo>
                        <a:lnTo>
                          <a:pt x="83360" y="1130170"/>
                        </a:lnTo>
                        <a:cubicBezTo>
                          <a:pt x="35772" y="1110042"/>
                          <a:pt x="2381" y="1062921"/>
                          <a:pt x="2381" y="1008002"/>
                        </a:cubicBezTo>
                        <a:cubicBezTo>
                          <a:pt x="2381" y="953083"/>
                          <a:pt x="35772" y="905961"/>
                          <a:pt x="83360" y="885833"/>
                        </a:cubicBezTo>
                        <a:lnTo>
                          <a:pt x="122887" y="877853"/>
                        </a:lnTo>
                        <a:lnTo>
                          <a:pt x="122887" y="117381"/>
                        </a:lnTo>
                        <a:lnTo>
                          <a:pt x="402640" y="117381"/>
                        </a:lnTo>
                        <a:lnTo>
                          <a:pt x="411792" y="40361"/>
                        </a:lnTo>
                        <a:cubicBezTo>
                          <a:pt x="420942" y="20233"/>
                          <a:pt x="429776" y="21601"/>
                          <a:pt x="461933" y="11728"/>
                        </a:cubicBezTo>
                        <a:cubicBezTo>
                          <a:pt x="518312" y="9247"/>
                          <a:pt x="752064" y="3435"/>
                          <a:pt x="831029" y="6351"/>
                        </a:cubicBezTo>
                        <a:cubicBezTo>
                          <a:pt x="898088" y="40223"/>
                          <a:pt x="868666" y="30113"/>
                          <a:pt x="885719" y="48118"/>
                        </a:cubicBezTo>
                        <a:lnTo>
                          <a:pt x="901667" y="117381"/>
                        </a:lnTo>
                        <a:lnTo>
                          <a:pt x="926895" y="117381"/>
                        </a:lnTo>
                        <a:lnTo>
                          <a:pt x="936365" y="39958"/>
                        </a:lnTo>
                        <a:cubicBezTo>
                          <a:pt x="945784" y="19830"/>
                          <a:pt x="954877" y="21198"/>
                          <a:pt x="987978" y="11325"/>
                        </a:cubicBezTo>
                        <a:cubicBezTo>
                          <a:pt x="1046013" y="8844"/>
                          <a:pt x="1286627" y="3032"/>
                          <a:pt x="1367910" y="5948"/>
                        </a:cubicBezTo>
                        <a:cubicBezTo>
                          <a:pt x="1436938" y="39820"/>
                          <a:pt x="1406652" y="29710"/>
                          <a:pt x="1424205" y="47715"/>
                        </a:cubicBezTo>
                        <a:lnTo>
                          <a:pt x="1440717" y="117381"/>
                        </a:lnTo>
                        <a:lnTo>
                          <a:pt x="1458413" y="117381"/>
                        </a:lnTo>
                        <a:lnTo>
                          <a:pt x="1467565" y="40362"/>
                        </a:lnTo>
                        <a:cubicBezTo>
                          <a:pt x="1476715" y="20234"/>
                          <a:pt x="1485549" y="21602"/>
                          <a:pt x="1517706" y="11729"/>
                        </a:cubicBezTo>
                        <a:cubicBezTo>
                          <a:pt x="1574085" y="9248"/>
                          <a:pt x="1807837" y="3436"/>
                          <a:pt x="1886802" y="6352"/>
                        </a:cubicBezTo>
                        <a:cubicBezTo>
                          <a:pt x="1953861" y="40224"/>
                          <a:pt x="1924439" y="30114"/>
                          <a:pt x="1941492" y="48119"/>
                        </a:cubicBezTo>
                        <a:lnTo>
                          <a:pt x="1957439" y="117381"/>
                        </a:lnTo>
                        <a:lnTo>
                          <a:pt x="2649646" y="117381"/>
                        </a:lnTo>
                        <a:lnTo>
                          <a:pt x="2649646" y="1075951"/>
                        </a:lnTo>
                        <a:lnTo>
                          <a:pt x="2776846" y="1206143"/>
                        </a:lnTo>
                        <a:lnTo>
                          <a:pt x="2649646" y="1206143"/>
                        </a:lnTo>
                        <a:lnTo>
                          <a:pt x="2649646" y="2081558"/>
                        </a:lnTo>
                        <a:lnTo>
                          <a:pt x="2646030" y="2081558"/>
                        </a:lnTo>
                        <a:lnTo>
                          <a:pt x="2774802" y="2213360"/>
                        </a:lnTo>
                        <a:lnTo>
                          <a:pt x="2649646" y="2213360"/>
                        </a:lnTo>
                        <a:lnTo>
                          <a:pt x="2649646" y="3103520"/>
                        </a:lnTo>
                        <a:lnTo>
                          <a:pt x="2645700" y="3103520"/>
                        </a:lnTo>
                        <a:lnTo>
                          <a:pt x="2766128" y="3230470"/>
                        </a:lnTo>
                        <a:lnTo>
                          <a:pt x="2650538" y="3230470"/>
                        </a:lnTo>
                        <a:lnTo>
                          <a:pt x="2650538" y="4106266"/>
                        </a:lnTo>
                        <a:lnTo>
                          <a:pt x="2638673" y="4106266"/>
                        </a:lnTo>
                        <a:lnTo>
                          <a:pt x="2755472" y="4229390"/>
                        </a:lnTo>
                        <a:lnTo>
                          <a:pt x="2649645" y="4229390"/>
                        </a:lnTo>
                        <a:lnTo>
                          <a:pt x="2649645" y="5107568"/>
                        </a:lnTo>
                        <a:lnTo>
                          <a:pt x="254042" y="5107568"/>
                        </a:lnTo>
                        <a:lnTo>
                          <a:pt x="230538" y="5141795"/>
                        </a:lnTo>
                        <a:cubicBezTo>
                          <a:pt x="206099" y="5165789"/>
                          <a:pt x="172338" y="5180629"/>
                          <a:pt x="135046" y="5180629"/>
                        </a:cubicBezTo>
                        <a:cubicBezTo>
                          <a:pt x="60462" y="5180629"/>
                          <a:pt x="0" y="5121267"/>
                          <a:pt x="0" y="5048041"/>
                        </a:cubicBezTo>
                        <a:close/>
                      </a:path>
                    </a:pathLst>
                  </a:cu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39" name="Rectangle 38">
                  <a:extLst>
                    <a:ext uri="{FF2B5EF4-FFF2-40B4-BE49-F238E27FC236}">
                      <a16:creationId xmlns:a16="http://schemas.microsoft.com/office/drawing/2014/main" id="{2C68EF8C-A9A8-4695-9D9A-4CAF2863A0A2}"/>
                    </a:ext>
                  </a:extLst>
                </p:cNvPr>
                <p:cNvSpPr/>
                <p:nvPr/>
              </p:nvSpPr>
              <p:spPr>
                <a:xfrm>
                  <a:off x="2749850" y="4204107"/>
                  <a:ext cx="927702" cy="234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0" name="TextBox 39">
                  <a:extLst>
                    <a:ext uri="{FF2B5EF4-FFF2-40B4-BE49-F238E27FC236}">
                      <a16:creationId xmlns:a16="http://schemas.microsoft.com/office/drawing/2014/main" id="{A8C37E0E-7E28-4C44-BBFD-2CADB0A86B5E}"/>
                    </a:ext>
                  </a:extLst>
                </p:cNvPr>
                <p:cNvSpPr txBox="1"/>
                <p:nvPr/>
              </p:nvSpPr>
              <p:spPr>
                <a:xfrm>
                  <a:off x="2648552" y="4197790"/>
                  <a:ext cx="1413164" cy="2563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1" u="none" strike="noStrike" kern="0" cap="none" spc="0" normalizeH="0" baseline="0" noProof="0">
                      <a:ln>
                        <a:noFill/>
                      </a:ln>
                      <a:solidFill>
                        <a:srgbClr val="EEEEEE">
                          <a:lumMod val="50000"/>
                          <a:alpha val="72000"/>
                        </a:srgbClr>
                      </a:solidFill>
                      <a:effectLst/>
                      <a:uLnTx/>
                      <a:uFillTx/>
                      <a:latin typeface="Arial"/>
                      <a:ea typeface="+mn-ea"/>
                      <a:cs typeface="Arial"/>
                      <a:sym typeface="Arial"/>
                    </a:rPr>
                    <a:t>= Progress Review</a:t>
                  </a:r>
                </a:p>
              </p:txBody>
            </p:sp>
          </p:grpSp>
          <p:sp>
            <p:nvSpPr>
              <p:cNvPr id="33" name="Oval 32">
                <a:extLst>
                  <a:ext uri="{FF2B5EF4-FFF2-40B4-BE49-F238E27FC236}">
                    <a16:creationId xmlns:a16="http://schemas.microsoft.com/office/drawing/2014/main" id="{353AE6D8-A44A-462B-829D-A7F4B7CB68D4}"/>
                  </a:ext>
                </a:extLst>
              </p:cNvPr>
              <p:cNvSpPr/>
              <p:nvPr/>
            </p:nvSpPr>
            <p:spPr>
              <a:xfrm>
                <a:off x="4861386" y="1664820"/>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4" name="Oval 33">
                <a:extLst>
                  <a:ext uri="{FF2B5EF4-FFF2-40B4-BE49-F238E27FC236}">
                    <a16:creationId xmlns:a16="http://schemas.microsoft.com/office/drawing/2014/main" id="{5CB24F43-E056-4776-ADE2-6C771A352FB5}"/>
                  </a:ext>
                </a:extLst>
              </p:cNvPr>
              <p:cNvSpPr/>
              <p:nvPr/>
            </p:nvSpPr>
            <p:spPr>
              <a:xfrm>
                <a:off x="5869276" y="1664819"/>
                <a:ext cx="274368" cy="275105"/>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5" name="Oval 34">
                <a:extLst>
                  <a:ext uri="{FF2B5EF4-FFF2-40B4-BE49-F238E27FC236}">
                    <a16:creationId xmlns:a16="http://schemas.microsoft.com/office/drawing/2014/main" id="{FB660B2E-C2A4-4A26-ABDC-3F97A07E8377}"/>
                  </a:ext>
                </a:extLst>
              </p:cNvPr>
              <p:cNvSpPr/>
              <p:nvPr/>
            </p:nvSpPr>
            <p:spPr>
              <a:xfrm>
                <a:off x="6875065" y="1663726"/>
                <a:ext cx="265176" cy="263588"/>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6" name="Oval 35">
                <a:extLst>
                  <a:ext uri="{FF2B5EF4-FFF2-40B4-BE49-F238E27FC236}">
                    <a16:creationId xmlns:a16="http://schemas.microsoft.com/office/drawing/2014/main" id="{80108ABC-2647-4997-BDD1-FC0AF180BD8A}"/>
                  </a:ext>
                </a:extLst>
              </p:cNvPr>
              <p:cNvSpPr/>
              <p:nvPr/>
            </p:nvSpPr>
            <p:spPr>
              <a:xfrm>
                <a:off x="7897426" y="1662138"/>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7" name="Oval 36">
                <a:extLst>
                  <a:ext uri="{FF2B5EF4-FFF2-40B4-BE49-F238E27FC236}">
                    <a16:creationId xmlns:a16="http://schemas.microsoft.com/office/drawing/2014/main" id="{4F81BD58-4977-470E-B2AD-1460B5D38C70}"/>
                  </a:ext>
                </a:extLst>
              </p:cNvPr>
              <p:cNvSpPr/>
              <p:nvPr/>
            </p:nvSpPr>
            <p:spPr>
              <a:xfrm>
                <a:off x="8903215" y="1662138"/>
                <a:ext cx="274368" cy="277787"/>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31" name="Rectangle 17">
              <a:extLst>
                <a:ext uri="{FF2B5EF4-FFF2-40B4-BE49-F238E27FC236}">
                  <a16:creationId xmlns:a16="http://schemas.microsoft.com/office/drawing/2014/main" id="{347DC786-F55B-41E6-8243-F52DA40774F3}"/>
                </a:ext>
              </a:extLst>
            </p:cNvPr>
            <p:cNvSpPr/>
            <p:nvPr/>
          </p:nvSpPr>
          <p:spPr>
            <a:xfrm>
              <a:off x="5556590" y="3097406"/>
              <a:ext cx="9144" cy="356616"/>
            </a:xfrm>
            <a:custGeom>
              <a:avLst/>
              <a:gdLst>
                <a:gd name="connsiteX0" fmla="*/ 0 w 1792941"/>
                <a:gd name="connsiteY0" fmla="*/ 0 h 519172"/>
                <a:gd name="connsiteX1" fmla="*/ 1792941 w 1792941"/>
                <a:gd name="connsiteY1" fmla="*/ 0 h 519172"/>
                <a:gd name="connsiteX2" fmla="*/ 1792941 w 1792941"/>
                <a:gd name="connsiteY2" fmla="*/ 519172 h 519172"/>
                <a:gd name="connsiteX3" fmla="*/ 0 w 1792941"/>
                <a:gd name="connsiteY3" fmla="*/ 519172 h 519172"/>
                <a:gd name="connsiteX4" fmla="*/ 0 w 1792941"/>
                <a:gd name="connsiteY4" fmla="*/ 0 h 519172"/>
                <a:gd name="connsiteX0" fmla="*/ 0 w 1792941"/>
                <a:gd name="connsiteY0" fmla="*/ 0 h 519172"/>
                <a:gd name="connsiteX1" fmla="*/ 1792941 w 1792941"/>
                <a:gd name="connsiteY1" fmla="*/ 0 h 519172"/>
                <a:gd name="connsiteX2" fmla="*/ 1792941 w 1792941"/>
                <a:gd name="connsiteY2" fmla="*/ 519172 h 519172"/>
                <a:gd name="connsiteX3" fmla="*/ 59531 w 1792941"/>
                <a:gd name="connsiteY3" fmla="*/ 495359 h 519172"/>
                <a:gd name="connsiteX4" fmla="*/ 0 w 1792941"/>
                <a:gd name="connsiteY4" fmla="*/ 0 h 519172"/>
                <a:gd name="connsiteX0" fmla="*/ 0 w 1792941"/>
                <a:gd name="connsiteY0" fmla="*/ 0 h 497741"/>
                <a:gd name="connsiteX1" fmla="*/ 1792941 w 1792941"/>
                <a:gd name="connsiteY1" fmla="*/ 0 h 497741"/>
                <a:gd name="connsiteX2" fmla="*/ 1788178 w 1792941"/>
                <a:gd name="connsiteY2" fmla="*/ 497741 h 497741"/>
                <a:gd name="connsiteX3" fmla="*/ 59531 w 1792941"/>
                <a:gd name="connsiteY3" fmla="*/ 495359 h 497741"/>
                <a:gd name="connsiteX4" fmla="*/ 0 w 1792941"/>
                <a:gd name="connsiteY4" fmla="*/ 0 h 497741"/>
                <a:gd name="connsiteX0" fmla="*/ 9525 w 1733410"/>
                <a:gd name="connsiteY0" fmla="*/ 0 h 500122"/>
                <a:gd name="connsiteX1" fmla="*/ 1733410 w 1733410"/>
                <a:gd name="connsiteY1" fmla="*/ 2381 h 500122"/>
                <a:gd name="connsiteX2" fmla="*/ 1728647 w 1733410"/>
                <a:gd name="connsiteY2" fmla="*/ 500122 h 500122"/>
                <a:gd name="connsiteX3" fmla="*/ 0 w 1733410"/>
                <a:gd name="connsiteY3" fmla="*/ 497740 h 500122"/>
                <a:gd name="connsiteX4" fmla="*/ 9525 w 1733410"/>
                <a:gd name="connsiteY4" fmla="*/ 0 h 500122"/>
                <a:gd name="connsiteX0" fmla="*/ 60384 w 1784269"/>
                <a:gd name="connsiteY0" fmla="*/ 0 h 500122"/>
                <a:gd name="connsiteX1" fmla="*/ 1784269 w 1784269"/>
                <a:gd name="connsiteY1" fmla="*/ 2381 h 500122"/>
                <a:gd name="connsiteX2" fmla="*/ 1779506 w 1784269"/>
                <a:gd name="connsiteY2" fmla="*/ 500122 h 500122"/>
                <a:gd name="connsiteX3" fmla="*/ 50859 w 1784269"/>
                <a:gd name="connsiteY3" fmla="*/ 497740 h 500122"/>
                <a:gd name="connsiteX4" fmla="*/ 60384 w 1784269"/>
                <a:gd name="connsiteY4" fmla="*/ 0 h 500122"/>
                <a:gd name="connsiteX0" fmla="*/ 92322 w 1816207"/>
                <a:gd name="connsiteY0" fmla="*/ 0 h 500122"/>
                <a:gd name="connsiteX1" fmla="*/ 1816207 w 1816207"/>
                <a:gd name="connsiteY1" fmla="*/ 2381 h 500122"/>
                <a:gd name="connsiteX2" fmla="*/ 1811444 w 1816207"/>
                <a:gd name="connsiteY2" fmla="*/ 500122 h 500122"/>
                <a:gd name="connsiteX3" fmla="*/ 82797 w 1816207"/>
                <a:gd name="connsiteY3" fmla="*/ 497740 h 500122"/>
                <a:gd name="connsiteX4" fmla="*/ 92322 w 1816207"/>
                <a:gd name="connsiteY4" fmla="*/ 0 h 500122"/>
                <a:gd name="connsiteX0" fmla="*/ 79810 w 1832270"/>
                <a:gd name="connsiteY0" fmla="*/ 14288 h 497741"/>
                <a:gd name="connsiteX1" fmla="*/ 1832270 w 1832270"/>
                <a:gd name="connsiteY1" fmla="*/ 0 h 497741"/>
                <a:gd name="connsiteX2" fmla="*/ 1827507 w 1832270"/>
                <a:gd name="connsiteY2" fmla="*/ 497741 h 497741"/>
                <a:gd name="connsiteX3" fmla="*/ 98860 w 1832270"/>
                <a:gd name="connsiteY3" fmla="*/ 495359 h 497741"/>
                <a:gd name="connsiteX4" fmla="*/ 79810 w 1832270"/>
                <a:gd name="connsiteY4" fmla="*/ 14288 h 497741"/>
                <a:gd name="connsiteX0" fmla="*/ 92322 w 1844782"/>
                <a:gd name="connsiteY0" fmla="*/ 14288 h 497741"/>
                <a:gd name="connsiteX1" fmla="*/ 1844782 w 1844782"/>
                <a:gd name="connsiteY1" fmla="*/ 0 h 497741"/>
                <a:gd name="connsiteX2" fmla="*/ 1840019 w 1844782"/>
                <a:gd name="connsiteY2" fmla="*/ 497741 h 497741"/>
                <a:gd name="connsiteX3" fmla="*/ 82797 w 1844782"/>
                <a:gd name="connsiteY3" fmla="*/ 497740 h 497741"/>
                <a:gd name="connsiteX4" fmla="*/ 92322 w 1844782"/>
                <a:gd name="connsiteY4" fmla="*/ 14288 h 497741"/>
                <a:gd name="connsiteX0" fmla="*/ 92322 w 1844782"/>
                <a:gd name="connsiteY0" fmla="*/ 4763 h 497741"/>
                <a:gd name="connsiteX1" fmla="*/ 1844782 w 1844782"/>
                <a:gd name="connsiteY1" fmla="*/ 0 h 497741"/>
                <a:gd name="connsiteX2" fmla="*/ 1840019 w 1844782"/>
                <a:gd name="connsiteY2" fmla="*/ 497741 h 497741"/>
                <a:gd name="connsiteX3" fmla="*/ 82797 w 1844782"/>
                <a:gd name="connsiteY3" fmla="*/ 497740 h 497741"/>
                <a:gd name="connsiteX4" fmla="*/ 92322 w 1844782"/>
                <a:gd name="connsiteY4" fmla="*/ 4763 h 497741"/>
                <a:gd name="connsiteX0" fmla="*/ 77510 w 1829970"/>
                <a:gd name="connsiteY0" fmla="*/ 4763 h 497741"/>
                <a:gd name="connsiteX1" fmla="*/ 1829970 w 1829970"/>
                <a:gd name="connsiteY1" fmla="*/ 0 h 497741"/>
                <a:gd name="connsiteX2" fmla="*/ 1825207 w 1829970"/>
                <a:gd name="connsiteY2" fmla="*/ 497741 h 497741"/>
                <a:gd name="connsiteX3" fmla="*/ 67985 w 1829970"/>
                <a:gd name="connsiteY3" fmla="*/ 497740 h 497741"/>
                <a:gd name="connsiteX4" fmla="*/ 77510 w 1829970"/>
                <a:gd name="connsiteY4" fmla="*/ 4763 h 497741"/>
                <a:gd name="connsiteX0" fmla="*/ 62852 w 1815312"/>
                <a:gd name="connsiteY0" fmla="*/ 4763 h 497741"/>
                <a:gd name="connsiteX1" fmla="*/ 1815312 w 1815312"/>
                <a:gd name="connsiteY1" fmla="*/ 0 h 497741"/>
                <a:gd name="connsiteX2" fmla="*/ 1810549 w 1815312"/>
                <a:gd name="connsiteY2" fmla="*/ 497741 h 497741"/>
                <a:gd name="connsiteX3" fmla="*/ 53327 w 1815312"/>
                <a:gd name="connsiteY3" fmla="*/ 497740 h 497741"/>
                <a:gd name="connsiteX4" fmla="*/ 62852 w 1815312"/>
                <a:gd name="connsiteY4" fmla="*/ 4763 h 497741"/>
                <a:gd name="connsiteX0" fmla="*/ 75186 w 1827646"/>
                <a:gd name="connsiteY0" fmla="*/ 4763 h 497741"/>
                <a:gd name="connsiteX1" fmla="*/ 1827646 w 1827646"/>
                <a:gd name="connsiteY1" fmla="*/ 0 h 497741"/>
                <a:gd name="connsiteX2" fmla="*/ 1822883 w 1827646"/>
                <a:gd name="connsiteY2" fmla="*/ 497741 h 497741"/>
                <a:gd name="connsiteX3" fmla="*/ 65661 w 1827646"/>
                <a:gd name="connsiteY3" fmla="*/ 497740 h 497741"/>
                <a:gd name="connsiteX4" fmla="*/ 75186 w 1827646"/>
                <a:gd name="connsiteY4" fmla="*/ 4763 h 497741"/>
                <a:gd name="connsiteX0" fmla="*/ 67749 w 1839259"/>
                <a:gd name="connsiteY0" fmla="*/ 4763 h 497741"/>
                <a:gd name="connsiteX1" fmla="*/ 1839259 w 1839259"/>
                <a:gd name="connsiteY1" fmla="*/ 0 h 497741"/>
                <a:gd name="connsiteX2" fmla="*/ 1834496 w 1839259"/>
                <a:gd name="connsiteY2" fmla="*/ 497741 h 497741"/>
                <a:gd name="connsiteX3" fmla="*/ 77274 w 1839259"/>
                <a:gd name="connsiteY3" fmla="*/ 497740 h 497741"/>
                <a:gd name="connsiteX4" fmla="*/ 67749 w 1839259"/>
                <a:gd name="connsiteY4" fmla="*/ 4763 h 497741"/>
                <a:gd name="connsiteX0" fmla="*/ 46665 w 1818175"/>
                <a:gd name="connsiteY0" fmla="*/ 4763 h 497741"/>
                <a:gd name="connsiteX1" fmla="*/ 1818175 w 1818175"/>
                <a:gd name="connsiteY1" fmla="*/ 0 h 497741"/>
                <a:gd name="connsiteX2" fmla="*/ 1813412 w 1818175"/>
                <a:gd name="connsiteY2" fmla="*/ 497741 h 497741"/>
                <a:gd name="connsiteX3" fmla="*/ 56190 w 1818175"/>
                <a:gd name="connsiteY3" fmla="*/ 497740 h 497741"/>
                <a:gd name="connsiteX4" fmla="*/ 46665 w 1818175"/>
                <a:gd name="connsiteY4" fmla="*/ 4763 h 497741"/>
                <a:gd name="connsiteX0" fmla="*/ 46665 w 1813870"/>
                <a:gd name="connsiteY0" fmla="*/ 7144 h 500122"/>
                <a:gd name="connsiteX1" fmla="*/ 1813412 w 1813870"/>
                <a:gd name="connsiteY1" fmla="*/ 0 h 500122"/>
                <a:gd name="connsiteX2" fmla="*/ 1813412 w 1813870"/>
                <a:gd name="connsiteY2" fmla="*/ 500122 h 500122"/>
                <a:gd name="connsiteX3" fmla="*/ 56190 w 1813870"/>
                <a:gd name="connsiteY3" fmla="*/ 500121 h 500122"/>
                <a:gd name="connsiteX4" fmla="*/ 46665 w 1813870"/>
                <a:gd name="connsiteY4" fmla="*/ 7144 h 500122"/>
                <a:gd name="connsiteX0" fmla="*/ 242760 w 2009965"/>
                <a:gd name="connsiteY0" fmla="*/ 7144 h 500122"/>
                <a:gd name="connsiteX1" fmla="*/ 2009507 w 2009965"/>
                <a:gd name="connsiteY1" fmla="*/ 0 h 500122"/>
                <a:gd name="connsiteX2" fmla="*/ 2009507 w 2009965"/>
                <a:gd name="connsiteY2" fmla="*/ 500122 h 500122"/>
                <a:gd name="connsiteX3" fmla="*/ 252285 w 2009965"/>
                <a:gd name="connsiteY3" fmla="*/ 500121 h 500122"/>
                <a:gd name="connsiteX4" fmla="*/ 7018 w 2009965"/>
                <a:gd name="connsiteY4" fmla="*/ 235879 h 500122"/>
                <a:gd name="connsiteX5" fmla="*/ 242760 w 2009965"/>
                <a:gd name="connsiteY5" fmla="*/ 7144 h 500122"/>
                <a:gd name="connsiteX0" fmla="*/ 439441 w 2006621"/>
                <a:gd name="connsiteY0" fmla="*/ 7144 h 500122"/>
                <a:gd name="connsiteX1" fmla="*/ 2006163 w 2006621"/>
                <a:gd name="connsiteY1" fmla="*/ 0 h 500122"/>
                <a:gd name="connsiteX2" fmla="*/ 2006163 w 2006621"/>
                <a:gd name="connsiteY2" fmla="*/ 500122 h 500122"/>
                <a:gd name="connsiteX3" fmla="*/ 248941 w 2006621"/>
                <a:gd name="connsiteY3" fmla="*/ 500121 h 500122"/>
                <a:gd name="connsiteX4" fmla="*/ 3674 w 2006621"/>
                <a:gd name="connsiteY4" fmla="*/ 235879 h 500122"/>
                <a:gd name="connsiteX5" fmla="*/ 439441 w 2006621"/>
                <a:gd name="connsiteY5" fmla="*/ 7144 h 500122"/>
                <a:gd name="connsiteX0" fmla="*/ 334606 w 1901786"/>
                <a:gd name="connsiteY0" fmla="*/ 7144 h 500122"/>
                <a:gd name="connsiteX1" fmla="*/ 1901328 w 1901786"/>
                <a:gd name="connsiteY1" fmla="*/ 0 h 500122"/>
                <a:gd name="connsiteX2" fmla="*/ 1901328 w 1901786"/>
                <a:gd name="connsiteY2" fmla="*/ 500122 h 500122"/>
                <a:gd name="connsiteX3" fmla="*/ 144106 w 1901786"/>
                <a:gd name="connsiteY3" fmla="*/ 500121 h 500122"/>
                <a:gd name="connsiteX4" fmla="*/ 108389 w 1901786"/>
                <a:gd name="connsiteY4" fmla="*/ 50141 h 500122"/>
                <a:gd name="connsiteX5" fmla="*/ 334606 w 1901786"/>
                <a:gd name="connsiteY5" fmla="*/ 7144 h 500122"/>
                <a:gd name="connsiteX0" fmla="*/ 394138 w 1901786"/>
                <a:gd name="connsiteY0" fmla="*/ 7144 h 500122"/>
                <a:gd name="connsiteX1" fmla="*/ 1901328 w 1901786"/>
                <a:gd name="connsiteY1" fmla="*/ 0 h 500122"/>
                <a:gd name="connsiteX2" fmla="*/ 1901328 w 1901786"/>
                <a:gd name="connsiteY2" fmla="*/ 500122 h 500122"/>
                <a:gd name="connsiteX3" fmla="*/ 144106 w 1901786"/>
                <a:gd name="connsiteY3" fmla="*/ 500121 h 500122"/>
                <a:gd name="connsiteX4" fmla="*/ 108389 w 1901786"/>
                <a:gd name="connsiteY4" fmla="*/ 50141 h 500122"/>
                <a:gd name="connsiteX5" fmla="*/ 394138 w 1901786"/>
                <a:gd name="connsiteY5" fmla="*/ 7144 h 500122"/>
                <a:gd name="connsiteX0" fmla="*/ 383036 w 1890684"/>
                <a:gd name="connsiteY0" fmla="*/ 14553 h 507531"/>
                <a:gd name="connsiteX1" fmla="*/ 1890226 w 1890684"/>
                <a:gd name="connsiteY1" fmla="*/ 7409 h 507531"/>
                <a:gd name="connsiteX2" fmla="*/ 1890226 w 1890684"/>
                <a:gd name="connsiteY2" fmla="*/ 507531 h 507531"/>
                <a:gd name="connsiteX3" fmla="*/ 133004 w 1890684"/>
                <a:gd name="connsiteY3" fmla="*/ 507530 h 507531"/>
                <a:gd name="connsiteX4" fmla="*/ 137768 w 1890684"/>
                <a:gd name="connsiteY4" fmla="*/ 33738 h 507531"/>
                <a:gd name="connsiteX5" fmla="*/ 383036 w 1890684"/>
                <a:gd name="connsiteY5" fmla="*/ 14553 h 507531"/>
                <a:gd name="connsiteX0" fmla="*/ 383036 w 1890684"/>
                <a:gd name="connsiteY0" fmla="*/ 9280 h 502258"/>
                <a:gd name="connsiteX1" fmla="*/ 1890226 w 1890684"/>
                <a:gd name="connsiteY1" fmla="*/ 2136 h 502258"/>
                <a:gd name="connsiteX2" fmla="*/ 1890226 w 1890684"/>
                <a:gd name="connsiteY2" fmla="*/ 502258 h 502258"/>
                <a:gd name="connsiteX3" fmla="*/ 133004 w 1890684"/>
                <a:gd name="connsiteY3" fmla="*/ 502257 h 502258"/>
                <a:gd name="connsiteX4" fmla="*/ 137768 w 1890684"/>
                <a:gd name="connsiteY4" fmla="*/ 28465 h 502258"/>
                <a:gd name="connsiteX5" fmla="*/ 383036 w 1890684"/>
                <a:gd name="connsiteY5" fmla="*/ 9280 h 502258"/>
                <a:gd name="connsiteX0" fmla="*/ 387799 w 1890684"/>
                <a:gd name="connsiteY0" fmla="*/ 5646 h 503387"/>
                <a:gd name="connsiteX1" fmla="*/ 1890226 w 1890684"/>
                <a:gd name="connsiteY1" fmla="*/ 3265 h 503387"/>
                <a:gd name="connsiteX2" fmla="*/ 1890226 w 1890684"/>
                <a:gd name="connsiteY2" fmla="*/ 503387 h 503387"/>
                <a:gd name="connsiteX3" fmla="*/ 133004 w 1890684"/>
                <a:gd name="connsiteY3" fmla="*/ 503386 h 503387"/>
                <a:gd name="connsiteX4" fmla="*/ 137768 w 1890684"/>
                <a:gd name="connsiteY4" fmla="*/ 29594 h 503387"/>
                <a:gd name="connsiteX5" fmla="*/ 387799 w 1890684"/>
                <a:gd name="connsiteY5" fmla="*/ 5646 h 503387"/>
                <a:gd name="connsiteX0" fmla="*/ 387799 w 1890684"/>
                <a:gd name="connsiteY0" fmla="*/ 12197 h 509938"/>
                <a:gd name="connsiteX1" fmla="*/ 1890226 w 1890684"/>
                <a:gd name="connsiteY1" fmla="*/ 9816 h 509938"/>
                <a:gd name="connsiteX2" fmla="*/ 1890226 w 1890684"/>
                <a:gd name="connsiteY2" fmla="*/ 509938 h 509938"/>
                <a:gd name="connsiteX3" fmla="*/ 133004 w 1890684"/>
                <a:gd name="connsiteY3" fmla="*/ 509937 h 509938"/>
                <a:gd name="connsiteX4" fmla="*/ 137768 w 1890684"/>
                <a:gd name="connsiteY4" fmla="*/ 36145 h 509938"/>
                <a:gd name="connsiteX5" fmla="*/ 387799 w 1890684"/>
                <a:gd name="connsiteY5" fmla="*/ 12197 h 509938"/>
                <a:gd name="connsiteX0" fmla="*/ 390885 w 1893770"/>
                <a:gd name="connsiteY0" fmla="*/ 15350 h 513091"/>
                <a:gd name="connsiteX1" fmla="*/ 1893312 w 1893770"/>
                <a:gd name="connsiteY1" fmla="*/ 12969 h 513091"/>
                <a:gd name="connsiteX2" fmla="*/ 1893312 w 1893770"/>
                <a:gd name="connsiteY2" fmla="*/ 513091 h 513091"/>
                <a:gd name="connsiteX3" fmla="*/ 136090 w 1893770"/>
                <a:gd name="connsiteY3" fmla="*/ 513090 h 513091"/>
                <a:gd name="connsiteX4" fmla="*/ 128947 w 1893770"/>
                <a:gd name="connsiteY4" fmla="*/ 34535 h 513091"/>
                <a:gd name="connsiteX5" fmla="*/ 390885 w 1893770"/>
                <a:gd name="connsiteY5" fmla="*/ 15350 h 513091"/>
                <a:gd name="connsiteX0" fmla="*/ 390885 w 1893770"/>
                <a:gd name="connsiteY0" fmla="*/ 2381 h 500122"/>
                <a:gd name="connsiteX1" fmla="*/ 1893312 w 1893770"/>
                <a:gd name="connsiteY1" fmla="*/ 0 h 500122"/>
                <a:gd name="connsiteX2" fmla="*/ 1893312 w 1893770"/>
                <a:gd name="connsiteY2" fmla="*/ 500122 h 500122"/>
                <a:gd name="connsiteX3" fmla="*/ 136090 w 1893770"/>
                <a:gd name="connsiteY3" fmla="*/ 500121 h 500122"/>
                <a:gd name="connsiteX4" fmla="*/ 128947 w 1893770"/>
                <a:gd name="connsiteY4" fmla="*/ 21566 h 500122"/>
                <a:gd name="connsiteX5" fmla="*/ 390885 w 1893770"/>
                <a:gd name="connsiteY5" fmla="*/ 2381 h 500122"/>
                <a:gd name="connsiteX0" fmla="*/ 262310 w 1765195"/>
                <a:gd name="connsiteY0" fmla="*/ 2381 h 500122"/>
                <a:gd name="connsiteX1" fmla="*/ 1764737 w 1765195"/>
                <a:gd name="connsiteY1" fmla="*/ 0 h 500122"/>
                <a:gd name="connsiteX2" fmla="*/ 1764737 w 1765195"/>
                <a:gd name="connsiteY2" fmla="*/ 500122 h 500122"/>
                <a:gd name="connsiteX3" fmla="*/ 271834 w 1765195"/>
                <a:gd name="connsiteY3" fmla="*/ 495358 h 500122"/>
                <a:gd name="connsiteX4" fmla="*/ 372 w 1765195"/>
                <a:gd name="connsiteY4" fmla="*/ 21566 h 500122"/>
                <a:gd name="connsiteX5" fmla="*/ 262310 w 1765195"/>
                <a:gd name="connsiteY5" fmla="*/ 2381 h 500122"/>
                <a:gd name="connsiteX0" fmla="*/ 296007 w 1798892"/>
                <a:gd name="connsiteY0" fmla="*/ 2381 h 500122"/>
                <a:gd name="connsiteX1" fmla="*/ 1798434 w 1798892"/>
                <a:gd name="connsiteY1" fmla="*/ 0 h 500122"/>
                <a:gd name="connsiteX2" fmla="*/ 1798434 w 1798892"/>
                <a:gd name="connsiteY2" fmla="*/ 500122 h 500122"/>
                <a:gd name="connsiteX3" fmla="*/ 305531 w 1798892"/>
                <a:gd name="connsiteY3" fmla="*/ 495358 h 500122"/>
                <a:gd name="connsiteX4" fmla="*/ 24545 w 1798892"/>
                <a:gd name="connsiteY4" fmla="*/ 447811 h 500122"/>
                <a:gd name="connsiteX5" fmla="*/ 34069 w 1798892"/>
                <a:gd name="connsiteY5" fmla="*/ 21566 h 500122"/>
                <a:gd name="connsiteX6" fmla="*/ 296007 w 1798892"/>
                <a:gd name="connsiteY6" fmla="*/ 2381 h 500122"/>
                <a:gd name="connsiteX0" fmla="*/ 296007 w 1798892"/>
                <a:gd name="connsiteY0" fmla="*/ 2381 h 502502"/>
                <a:gd name="connsiteX1" fmla="*/ 1798434 w 1798892"/>
                <a:gd name="connsiteY1" fmla="*/ 0 h 502502"/>
                <a:gd name="connsiteX2" fmla="*/ 1798434 w 1798892"/>
                <a:gd name="connsiteY2" fmla="*/ 500122 h 502502"/>
                <a:gd name="connsiteX3" fmla="*/ 305531 w 1798892"/>
                <a:gd name="connsiteY3" fmla="*/ 502502 h 502502"/>
                <a:gd name="connsiteX4" fmla="*/ 24545 w 1798892"/>
                <a:gd name="connsiteY4" fmla="*/ 447811 h 502502"/>
                <a:gd name="connsiteX5" fmla="*/ 34069 w 1798892"/>
                <a:gd name="connsiteY5" fmla="*/ 21566 h 502502"/>
                <a:gd name="connsiteX6" fmla="*/ 296007 w 1798892"/>
                <a:gd name="connsiteY6" fmla="*/ 2381 h 502502"/>
                <a:gd name="connsiteX0" fmla="*/ 294459 w 1797344"/>
                <a:gd name="connsiteY0" fmla="*/ 2381 h 502502"/>
                <a:gd name="connsiteX1" fmla="*/ 1796886 w 1797344"/>
                <a:gd name="connsiteY1" fmla="*/ 0 h 502502"/>
                <a:gd name="connsiteX2" fmla="*/ 1796886 w 1797344"/>
                <a:gd name="connsiteY2" fmla="*/ 500122 h 502502"/>
                <a:gd name="connsiteX3" fmla="*/ 303983 w 1797344"/>
                <a:gd name="connsiteY3" fmla="*/ 502502 h 502502"/>
                <a:gd name="connsiteX4" fmla="*/ 25378 w 1797344"/>
                <a:gd name="connsiteY4" fmla="*/ 452574 h 502502"/>
                <a:gd name="connsiteX5" fmla="*/ 32521 w 1797344"/>
                <a:gd name="connsiteY5" fmla="*/ 21566 h 502502"/>
                <a:gd name="connsiteX6" fmla="*/ 294459 w 1797344"/>
                <a:gd name="connsiteY6" fmla="*/ 2381 h 502502"/>
                <a:gd name="connsiteX0" fmla="*/ 299350 w 1802235"/>
                <a:gd name="connsiteY0" fmla="*/ 2381 h 502502"/>
                <a:gd name="connsiteX1" fmla="*/ 1801777 w 1802235"/>
                <a:gd name="connsiteY1" fmla="*/ 0 h 502502"/>
                <a:gd name="connsiteX2" fmla="*/ 1801777 w 1802235"/>
                <a:gd name="connsiteY2" fmla="*/ 500122 h 502502"/>
                <a:gd name="connsiteX3" fmla="*/ 308874 w 1802235"/>
                <a:gd name="connsiteY3" fmla="*/ 502502 h 502502"/>
                <a:gd name="connsiteX4" fmla="*/ 30269 w 1802235"/>
                <a:gd name="connsiteY4" fmla="*/ 452574 h 502502"/>
                <a:gd name="connsiteX5" fmla="*/ 25506 w 1802235"/>
                <a:gd name="connsiteY5" fmla="*/ 31091 h 502502"/>
                <a:gd name="connsiteX6" fmla="*/ 299350 w 1802235"/>
                <a:gd name="connsiteY6" fmla="*/ 2381 h 502502"/>
                <a:gd name="connsiteX0" fmla="*/ 299350 w 1802235"/>
                <a:gd name="connsiteY0" fmla="*/ 2381 h 502502"/>
                <a:gd name="connsiteX1" fmla="*/ 1801777 w 1802235"/>
                <a:gd name="connsiteY1" fmla="*/ 0 h 502502"/>
                <a:gd name="connsiteX2" fmla="*/ 1801777 w 1802235"/>
                <a:gd name="connsiteY2" fmla="*/ 500122 h 502502"/>
                <a:gd name="connsiteX3" fmla="*/ 308874 w 1802235"/>
                <a:gd name="connsiteY3" fmla="*/ 502502 h 502502"/>
                <a:gd name="connsiteX4" fmla="*/ 30269 w 1802235"/>
                <a:gd name="connsiteY4" fmla="*/ 452574 h 502502"/>
                <a:gd name="connsiteX5" fmla="*/ 25506 w 1802235"/>
                <a:gd name="connsiteY5" fmla="*/ 31091 h 502502"/>
                <a:gd name="connsiteX6" fmla="*/ 299350 w 1802235"/>
                <a:gd name="connsiteY6" fmla="*/ 2381 h 502502"/>
                <a:gd name="connsiteX0" fmla="*/ 297683 w 1800568"/>
                <a:gd name="connsiteY0" fmla="*/ 2381 h 502502"/>
                <a:gd name="connsiteX1" fmla="*/ 1800110 w 1800568"/>
                <a:gd name="connsiteY1" fmla="*/ 0 h 502502"/>
                <a:gd name="connsiteX2" fmla="*/ 1800110 w 1800568"/>
                <a:gd name="connsiteY2" fmla="*/ 500122 h 502502"/>
                <a:gd name="connsiteX3" fmla="*/ 307207 w 1800568"/>
                <a:gd name="connsiteY3" fmla="*/ 502502 h 502502"/>
                <a:gd name="connsiteX4" fmla="*/ 28602 w 1800568"/>
                <a:gd name="connsiteY4" fmla="*/ 452574 h 502502"/>
                <a:gd name="connsiteX5" fmla="*/ 23839 w 1800568"/>
                <a:gd name="connsiteY5" fmla="*/ 31091 h 502502"/>
                <a:gd name="connsiteX6" fmla="*/ 297683 w 1800568"/>
                <a:gd name="connsiteY6" fmla="*/ 2381 h 502502"/>
                <a:gd name="connsiteX0" fmla="*/ 297683 w 1800568"/>
                <a:gd name="connsiteY0" fmla="*/ 6223 h 506344"/>
                <a:gd name="connsiteX1" fmla="*/ 1800110 w 1800568"/>
                <a:gd name="connsiteY1" fmla="*/ 3842 h 506344"/>
                <a:gd name="connsiteX2" fmla="*/ 1800110 w 1800568"/>
                <a:gd name="connsiteY2" fmla="*/ 503964 h 506344"/>
                <a:gd name="connsiteX3" fmla="*/ 307207 w 1800568"/>
                <a:gd name="connsiteY3" fmla="*/ 506344 h 506344"/>
                <a:gd name="connsiteX4" fmla="*/ 28602 w 1800568"/>
                <a:gd name="connsiteY4" fmla="*/ 456416 h 506344"/>
                <a:gd name="connsiteX5" fmla="*/ 23839 w 1800568"/>
                <a:gd name="connsiteY5" fmla="*/ 34933 h 506344"/>
                <a:gd name="connsiteX6" fmla="*/ 297683 w 1800568"/>
                <a:gd name="connsiteY6" fmla="*/ 6223 h 506344"/>
                <a:gd name="connsiteX0" fmla="*/ 292334 w 1795219"/>
                <a:gd name="connsiteY0" fmla="*/ 15483 h 515604"/>
                <a:gd name="connsiteX1" fmla="*/ 1794761 w 1795219"/>
                <a:gd name="connsiteY1" fmla="*/ 13102 h 515604"/>
                <a:gd name="connsiteX2" fmla="*/ 1794761 w 1795219"/>
                <a:gd name="connsiteY2" fmla="*/ 513224 h 515604"/>
                <a:gd name="connsiteX3" fmla="*/ 301858 w 1795219"/>
                <a:gd name="connsiteY3" fmla="*/ 515604 h 515604"/>
                <a:gd name="connsiteX4" fmla="*/ 23253 w 1795219"/>
                <a:gd name="connsiteY4" fmla="*/ 465676 h 515604"/>
                <a:gd name="connsiteX5" fmla="*/ 32778 w 1795219"/>
                <a:gd name="connsiteY5" fmla="*/ 29906 h 515604"/>
                <a:gd name="connsiteX6" fmla="*/ 292334 w 1795219"/>
                <a:gd name="connsiteY6" fmla="*/ 15483 h 515604"/>
                <a:gd name="connsiteX0" fmla="*/ 292334 w 1795219"/>
                <a:gd name="connsiteY0" fmla="*/ 2381 h 502502"/>
                <a:gd name="connsiteX1" fmla="*/ 1794761 w 1795219"/>
                <a:gd name="connsiteY1" fmla="*/ 0 h 502502"/>
                <a:gd name="connsiteX2" fmla="*/ 1794761 w 1795219"/>
                <a:gd name="connsiteY2" fmla="*/ 500122 h 502502"/>
                <a:gd name="connsiteX3" fmla="*/ 301858 w 1795219"/>
                <a:gd name="connsiteY3" fmla="*/ 502502 h 502502"/>
                <a:gd name="connsiteX4" fmla="*/ 23253 w 1795219"/>
                <a:gd name="connsiteY4" fmla="*/ 452574 h 502502"/>
                <a:gd name="connsiteX5" fmla="*/ 32778 w 1795219"/>
                <a:gd name="connsiteY5" fmla="*/ 16804 h 502502"/>
                <a:gd name="connsiteX6" fmla="*/ 292334 w 1795219"/>
                <a:gd name="connsiteY6" fmla="*/ 2381 h 502502"/>
                <a:gd name="connsiteX0" fmla="*/ 296449 w 1799334"/>
                <a:gd name="connsiteY0" fmla="*/ 2381 h 502502"/>
                <a:gd name="connsiteX1" fmla="*/ 1798876 w 1799334"/>
                <a:gd name="connsiteY1" fmla="*/ 0 h 502502"/>
                <a:gd name="connsiteX2" fmla="*/ 1798876 w 1799334"/>
                <a:gd name="connsiteY2" fmla="*/ 500122 h 502502"/>
                <a:gd name="connsiteX3" fmla="*/ 305973 w 1799334"/>
                <a:gd name="connsiteY3" fmla="*/ 502502 h 502502"/>
                <a:gd name="connsiteX4" fmla="*/ 27368 w 1799334"/>
                <a:gd name="connsiteY4" fmla="*/ 452574 h 502502"/>
                <a:gd name="connsiteX5" fmla="*/ 36893 w 1799334"/>
                <a:gd name="connsiteY5" fmla="*/ 16804 h 502502"/>
                <a:gd name="connsiteX6" fmla="*/ 296449 w 1799334"/>
                <a:gd name="connsiteY6" fmla="*/ 2381 h 50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9334" h="502502">
                  <a:moveTo>
                    <a:pt x="296449" y="2381"/>
                  </a:moveTo>
                  <a:lnTo>
                    <a:pt x="1798876" y="0"/>
                  </a:lnTo>
                  <a:cubicBezTo>
                    <a:pt x="1797288" y="165914"/>
                    <a:pt x="1800464" y="334208"/>
                    <a:pt x="1798876" y="500122"/>
                  </a:cubicBezTo>
                  <a:lnTo>
                    <a:pt x="305973" y="502502"/>
                  </a:lnTo>
                  <a:cubicBezTo>
                    <a:pt x="26597" y="485449"/>
                    <a:pt x="72612" y="531539"/>
                    <a:pt x="27368" y="452574"/>
                  </a:cubicBezTo>
                  <a:cubicBezTo>
                    <a:pt x="-17876" y="373609"/>
                    <a:pt x="-1604" y="73183"/>
                    <a:pt x="36893" y="16804"/>
                  </a:cubicBezTo>
                  <a:cubicBezTo>
                    <a:pt x="190088" y="-15353"/>
                    <a:pt x="-15868" y="11531"/>
                    <a:pt x="296449" y="2381"/>
                  </a:cubicBezTo>
                  <a:close/>
                </a:path>
              </a:pathLst>
            </a:cu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52" name="Footer Placeholder 2">
            <a:extLst>
              <a:ext uri="{FF2B5EF4-FFF2-40B4-BE49-F238E27FC236}">
                <a16:creationId xmlns:a16="http://schemas.microsoft.com/office/drawing/2014/main" id="{734000D9-68DA-421B-A470-3A1AA592AD7D}"/>
              </a:ext>
            </a:extLst>
          </p:cNvPr>
          <p:cNvSpPr>
            <a:spLocks noGrp="1"/>
          </p:cNvSpPr>
          <p:nvPr>
            <p:ph type="ftr" sz="quarter" idx="11"/>
          </p:nvPr>
        </p:nvSpPr>
        <p:spPr>
          <a:xfrm>
            <a:off x="8077200" y="76362"/>
            <a:ext cx="3499448" cy="254259"/>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chemeClr val="bg1"/>
                </a:solidFill>
                <a:effectLst/>
                <a:uLnTx/>
                <a:uFillTx/>
                <a:latin typeface="Arial"/>
                <a:ea typeface="+mn-ea"/>
                <a:cs typeface="Arial"/>
                <a:sym typeface="Arial"/>
              </a:rPr>
              <a:t>M3 Playbook Orientation</a:t>
            </a:r>
          </a:p>
        </p:txBody>
      </p:sp>
      <p:cxnSp>
        <p:nvCxnSpPr>
          <p:cNvPr id="45" name="Straight Connector 44">
            <a:extLst>
              <a:ext uri="{FF2B5EF4-FFF2-40B4-BE49-F238E27FC236}">
                <a16:creationId xmlns:a16="http://schemas.microsoft.com/office/drawing/2014/main" id="{45B0AC14-F726-4D9D-ACD7-497E8C54C8CB}"/>
              </a:ext>
            </a:extLst>
          </p:cNvPr>
          <p:cNvCxnSpPr>
            <a:cxnSpLocks/>
          </p:cNvCxnSpPr>
          <p:nvPr/>
        </p:nvCxnSpPr>
        <p:spPr>
          <a:xfrm flipV="1">
            <a:off x="-4392" y="920967"/>
            <a:ext cx="6206888" cy="15216"/>
          </a:xfrm>
          <a:prstGeom prst="line">
            <a:avLst/>
          </a:prstGeom>
          <a:ln>
            <a:solidFill>
              <a:srgbClr val="92D050"/>
            </a:solidFill>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2F2FE07A-06C4-4F41-8DB9-8DC750D52F8F}"/>
              </a:ext>
            </a:extLst>
          </p:cNvPr>
          <p:cNvGrpSpPr/>
          <p:nvPr/>
        </p:nvGrpSpPr>
        <p:grpSpPr>
          <a:xfrm>
            <a:off x="483489" y="3714419"/>
            <a:ext cx="5938769" cy="2372125"/>
            <a:chOff x="5426229" y="3552636"/>
            <a:chExt cx="5938769" cy="2372125"/>
          </a:xfrm>
        </p:grpSpPr>
        <p:sp>
          <p:nvSpPr>
            <p:cNvPr id="55" name="Content Placeholder 2">
              <a:extLst>
                <a:ext uri="{FF2B5EF4-FFF2-40B4-BE49-F238E27FC236}">
                  <a16:creationId xmlns:a16="http://schemas.microsoft.com/office/drawing/2014/main" id="{2A69E128-FA95-483E-9E7A-65B2AB41F9D6}"/>
                </a:ext>
              </a:extLst>
            </p:cNvPr>
            <p:cNvSpPr txBox="1">
              <a:spLocks/>
            </p:cNvSpPr>
            <p:nvPr/>
          </p:nvSpPr>
          <p:spPr>
            <a:xfrm>
              <a:off x="5427826" y="3922329"/>
              <a:ext cx="2104166" cy="457048"/>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Government-wide Standards defined </a:t>
              </a:r>
              <a:r>
                <a:rPr lang="en-US" sz="1100">
                  <a:solidFill>
                    <a:srgbClr val="000000"/>
                  </a:solidFill>
                  <a:latin typeface="Arial" panose="020B0604020202020204"/>
                  <a:cs typeface="Arial"/>
                </a:rPr>
                <a:t>through the </a:t>
              </a:r>
              <a:r>
                <a:rPr lang="en-US" sz="1100" u="sng">
                  <a:solidFill>
                    <a:srgbClr val="005087"/>
                  </a:solidFill>
                  <a:ea typeface="Arial"/>
                  <a:cs typeface="Arial"/>
                  <a:hlinkClick r:id="rId6">
                    <a:extLst>
                      <a:ext uri="{A12FA001-AC4F-418D-AE19-62706E023703}">
                        <ahyp:hlinkClr xmlns:ahyp="http://schemas.microsoft.com/office/drawing/2018/hyperlinkcolor" val="tx"/>
                      </a:ext>
                    </a:extLst>
                  </a:hlinkClick>
                </a:rPr>
                <a:t>FIBF website</a:t>
              </a:r>
              <a:endParaRPr kumimoji="0" lang="en-US" sz="1100" b="0" i="0" u="sng" strike="noStrike" kern="1200" cap="none" spc="0" normalizeH="0" baseline="0" noProof="0">
                <a:ln>
                  <a:noFill/>
                </a:ln>
                <a:solidFill>
                  <a:srgbClr val="005087"/>
                </a:solidFill>
                <a:effectLst/>
                <a:uLnTx/>
                <a:uFillTx/>
                <a:latin typeface="Arial" panose="020B0604020202020204"/>
                <a:ea typeface="Arial"/>
                <a:cs typeface="Arial"/>
                <a:sym typeface="Arial"/>
              </a:endParaRPr>
            </a:p>
          </p:txBody>
        </p:sp>
        <p:sp>
          <p:nvSpPr>
            <p:cNvPr id="56" name="Content Placeholder 2">
              <a:extLst>
                <a:ext uri="{FF2B5EF4-FFF2-40B4-BE49-F238E27FC236}">
                  <a16:creationId xmlns:a16="http://schemas.microsoft.com/office/drawing/2014/main" id="{799C175D-2B75-46E8-876F-7CA6A10065E2}"/>
                </a:ext>
              </a:extLst>
            </p:cNvPr>
            <p:cNvSpPr txBox="1">
              <a:spLocks/>
            </p:cNvSpPr>
            <p:nvPr/>
          </p:nvSpPr>
          <p:spPr>
            <a:xfrm>
              <a:off x="5434013" y="3552636"/>
              <a:ext cx="1880880"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Inputs</a:t>
              </a:r>
              <a:endParaRPr kumimoji="0" lang="en-US" sz="11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57" name="Content Placeholder 2">
              <a:extLst>
                <a:ext uri="{FF2B5EF4-FFF2-40B4-BE49-F238E27FC236}">
                  <a16:creationId xmlns:a16="http://schemas.microsoft.com/office/drawing/2014/main" id="{B082D674-97EB-4783-B5A1-D74E28432231}"/>
                </a:ext>
              </a:extLst>
            </p:cNvPr>
            <p:cNvSpPr txBox="1">
              <a:spLocks/>
            </p:cNvSpPr>
            <p:nvPr/>
          </p:nvSpPr>
          <p:spPr>
            <a:xfrm>
              <a:off x="8623954" y="3922329"/>
              <a:ext cx="2741044"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Vision Statement</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In-scope Service Area(s) and Function(s) </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Expected Benefits</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High Level Timelines</a:t>
              </a:r>
            </a:p>
          </p:txBody>
        </p:sp>
        <p:sp>
          <p:nvSpPr>
            <p:cNvPr id="58" name="Content Placeholder 2">
              <a:extLst>
                <a:ext uri="{FF2B5EF4-FFF2-40B4-BE49-F238E27FC236}">
                  <a16:creationId xmlns:a16="http://schemas.microsoft.com/office/drawing/2014/main" id="{7DAD0701-3074-496B-B5D5-86A3D279CE12}"/>
                </a:ext>
              </a:extLst>
            </p:cNvPr>
            <p:cNvSpPr txBox="1">
              <a:spLocks/>
            </p:cNvSpPr>
            <p:nvPr/>
          </p:nvSpPr>
          <p:spPr>
            <a:xfrm>
              <a:off x="8623952" y="3552636"/>
              <a:ext cx="1743867"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Outputs</a:t>
              </a:r>
              <a:endParaRPr kumimoji="0" lang="en-US" sz="14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60" name="Content Placeholder 2">
              <a:extLst>
                <a:ext uri="{FF2B5EF4-FFF2-40B4-BE49-F238E27FC236}">
                  <a16:creationId xmlns:a16="http://schemas.microsoft.com/office/drawing/2014/main" id="{98739D45-CAE7-41F8-B4CC-9CAA32BF915F}"/>
                </a:ext>
              </a:extLst>
            </p:cNvPr>
            <p:cNvSpPr txBox="1">
              <a:spLocks/>
            </p:cNvSpPr>
            <p:nvPr/>
          </p:nvSpPr>
          <p:spPr>
            <a:xfrm>
              <a:off x="5426231" y="5365121"/>
              <a:ext cx="2192264" cy="559640"/>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Executive Sponsor</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Organization Executives (CXOs)</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Program Manager</a:t>
              </a:r>
            </a:p>
          </p:txBody>
        </p:sp>
        <p:sp>
          <p:nvSpPr>
            <p:cNvPr id="61" name="Content Placeholder 2">
              <a:extLst>
                <a:ext uri="{FF2B5EF4-FFF2-40B4-BE49-F238E27FC236}">
                  <a16:creationId xmlns:a16="http://schemas.microsoft.com/office/drawing/2014/main" id="{38A8AC54-9F07-4195-809B-4B3EA7B0BCAA}"/>
                </a:ext>
              </a:extLst>
            </p:cNvPr>
            <p:cNvSpPr txBox="1">
              <a:spLocks/>
            </p:cNvSpPr>
            <p:nvPr/>
          </p:nvSpPr>
          <p:spPr>
            <a:xfrm>
              <a:off x="8570028" y="5365121"/>
              <a:ext cx="1739227" cy="559640"/>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PMO Lead, if on-boarded</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Arial"/>
                  <a:cs typeface="Arial"/>
                  <a:sym typeface="Arial"/>
                </a:rPr>
                <a:t>QSMO</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69" name="Rectangle 68">
              <a:extLst>
                <a:ext uri="{FF2B5EF4-FFF2-40B4-BE49-F238E27FC236}">
                  <a16:creationId xmlns:a16="http://schemas.microsoft.com/office/drawing/2014/main" id="{10635758-E859-4A64-BD72-71D397161DF9}"/>
                </a:ext>
              </a:extLst>
            </p:cNvPr>
            <p:cNvSpPr/>
            <p:nvPr/>
          </p:nvSpPr>
          <p:spPr>
            <a:xfrm>
              <a:off x="8623953" y="3780826"/>
              <a:ext cx="1737360"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7723294C-428E-4424-9576-5D3F07AB11BC}"/>
                </a:ext>
              </a:extLst>
            </p:cNvPr>
            <p:cNvSpPr/>
            <p:nvPr/>
          </p:nvSpPr>
          <p:spPr>
            <a:xfrm>
              <a:off x="5427826"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7D0C3C43-DE3D-4A31-9B53-FB9D5001744D}"/>
                </a:ext>
              </a:extLst>
            </p:cNvPr>
            <p:cNvSpPr/>
            <p:nvPr/>
          </p:nvSpPr>
          <p:spPr>
            <a:xfrm flipV="1">
              <a:off x="5426229" y="5208536"/>
              <a:ext cx="5669280"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47" name="Content Placeholder 2">
            <a:extLst>
              <a:ext uri="{FF2B5EF4-FFF2-40B4-BE49-F238E27FC236}">
                <a16:creationId xmlns:a16="http://schemas.microsoft.com/office/drawing/2014/main" id="{E9F42064-309B-4053-B49C-EA3EE6BD8E94}"/>
              </a:ext>
            </a:extLst>
          </p:cNvPr>
          <p:cNvSpPr txBox="1">
            <a:spLocks/>
          </p:cNvSpPr>
          <p:nvPr/>
        </p:nvSpPr>
        <p:spPr>
          <a:xfrm>
            <a:off x="483528" y="5153054"/>
            <a:ext cx="2254582"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Stakeholders</a:t>
            </a:r>
            <a:endParaRPr kumimoji="0" lang="en-US" sz="12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23A0A217-E5F6-4659-BC0A-D2A83C2529B8}"/>
              </a:ext>
            </a:extLst>
          </p:cNvPr>
          <p:cNvSpPr txBox="1"/>
          <p:nvPr/>
        </p:nvSpPr>
        <p:spPr>
          <a:xfrm>
            <a:off x="7266248" y="6470392"/>
            <a:ext cx="4724400" cy="261610"/>
          </a:xfrm>
          <a:prstGeom prst="rect">
            <a:avLst/>
          </a:prstGeom>
          <a:noFill/>
        </p:spPr>
        <p:txBody>
          <a:bodyPr wrap="square" rtlCol="0">
            <a:spAutoFit/>
          </a:bodyPr>
          <a:lstStyle/>
          <a:p>
            <a:pPr algn="ctr"/>
            <a:r>
              <a:rPr lang="en-US" sz="1100" i="1" dirty="0">
                <a:solidFill>
                  <a:srgbClr val="F7F7F7"/>
                </a:solidFill>
              </a:rPr>
              <a:t>- Last published June 2022 -</a:t>
            </a:r>
          </a:p>
        </p:txBody>
      </p:sp>
      <p:grpSp>
        <p:nvGrpSpPr>
          <p:cNvPr id="12" name="Group 11">
            <a:extLst>
              <a:ext uri="{FF2B5EF4-FFF2-40B4-BE49-F238E27FC236}">
                <a16:creationId xmlns:a16="http://schemas.microsoft.com/office/drawing/2014/main" id="{7CFCD6DC-BC4C-4BF6-B766-CD29607AD37F}"/>
              </a:ext>
            </a:extLst>
          </p:cNvPr>
          <p:cNvGrpSpPr/>
          <p:nvPr/>
        </p:nvGrpSpPr>
        <p:grpSpPr>
          <a:xfrm>
            <a:off x="7547410" y="1224812"/>
            <a:ext cx="4361062" cy="646331"/>
            <a:chOff x="7547410" y="1224812"/>
            <a:chExt cx="4361062" cy="646331"/>
          </a:xfrm>
        </p:grpSpPr>
        <p:pic>
          <p:nvPicPr>
            <p:cNvPr id="50" name="Picture 49">
              <a:extLst>
                <a:ext uri="{FF2B5EF4-FFF2-40B4-BE49-F238E27FC236}">
                  <a16:creationId xmlns:a16="http://schemas.microsoft.com/office/drawing/2014/main" id="{D14BB6E8-649D-4F14-A1BF-B7B80B44F918}"/>
                </a:ext>
              </a:extLst>
            </p:cNvPr>
            <p:cNvPicPr>
              <a:picLocks noChangeAspect="1"/>
            </p:cNvPicPr>
            <p:nvPr/>
          </p:nvPicPr>
          <p:blipFill>
            <a:blip r:embed="rId7"/>
            <a:stretch>
              <a:fillRect/>
            </a:stretch>
          </p:blipFill>
          <p:spPr>
            <a:xfrm>
              <a:off x="7547410" y="1369030"/>
              <a:ext cx="308187" cy="357895"/>
            </a:xfrm>
            <a:prstGeom prst="rect">
              <a:avLst/>
            </a:prstGeom>
          </p:spPr>
        </p:pic>
        <p:sp>
          <p:nvSpPr>
            <p:cNvPr id="49" name="TextBox 48">
              <a:extLst>
                <a:ext uri="{FF2B5EF4-FFF2-40B4-BE49-F238E27FC236}">
                  <a16:creationId xmlns:a16="http://schemas.microsoft.com/office/drawing/2014/main" id="{30F2688D-80B6-4751-A1F6-A474CE3C3D93}"/>
                </a:ext>
              </a:extLst>
            </p:cNvPr>
            <p:cNvSpPr txBox="1"/>
            <p:nvPr/>
          </p:nvSpPr>
          <p:spPr>
            <a:xfrm>
              <a:off x="8228650" y="1224812"/>
              <a:ext cx="3679822" cy="646331"/>
            </a:xfrm>
            <a:prstGeom prst="rect">
              <a:avLst/>
            </a:prstGeom>
            <a:noFill/>
          </p:spPr>
          <p:txBody>
            <a:bodyPr wrap="square" rtlCol="0">
              <a:spAutoFit/>
            </a:bodyPr>
            <a:lstStyle/>
            <a:p>
              <a:pPr lvl="0">
                <a:spcBef>
                  <a:spcPts val="1800"/>
                </a:spcBef>
                <a:buClr>
                  <a:srgbClr val="FFFFFF"/>
                </a:buClr>
                <a:defRPr/>
              </a:pPr>
              <a:r>
                <a:rPr lang="en-US" sz="1200" kern="1200">
                  <a:solidFill>
                    <a:srgbClr val="FFFFFF"/>
                  </a:solidFill>
                </a:rPr>
                <a:t>Build and define a vision and objectives to determine optimal path for modernization or migration effort</a:t>
              </a:r>
            </a:p>
          </p:txBody>
        </p:sp>
      </p:grpSp>
      <p:grpSp>
        <p:nvGrpSpPr>
          <p:cNvPr id="11" name="Group 10">
            <a:extLst>
              <a:ext uri="{FF2B5EF4-FFF2-40B4-BE49-F238E27FC236}">
                <a16:creationId xmlns:a16="http://schemas.microsoft.com/office/drawing/2014/main" id="{2A80BF09-2563-4E2B-BB2C-B3CBE0654D01}"/>
              </a:ext>
            </a:extLst>
          </p:cNvPr>
          <p:cNvGrpSpPr/>
          <p:nvPr/>
        </p:nvGrpSpPr>
        <p:grpSpPr>
          <a:xfrm>
            <a:off x="7547410" y="1910838"/>
            <a:ext cx="4361062" cy="1015663"/>
            <a:chOff x="7547410" y="1906429"/>
            <a:chExt cx="4361062" cy="1015663"/>
          </a:xfrm>
        </p:grpSpPr>
        <p:pic>
          <p:nvPicPr>
            <p:cNvPr id="51" name="Picture 50">
              <a:extLst>
                <a:ext uri="{FF2B5EF4-FFF2-40B4-BE49-F238E27FC236}">
                  <a16:creationId xmlns:a16="http://schemas.microsoft.com/office/drawing/2014/main" id="{AC6AE4AA-3191-448D-8806-6F2E546B1B32}"/>
                </a:ext>
              </a:extLst>
            </p:cNvPr>
            <p:cNvPicPr>
              <a:picLocks noChangeAspect="1"/>
            </p:cNvPicPr>
            <p:nvPr/>
          </p:nvPicPr>
          <p:blipFill>
            <a:blip r:embed="rId7"/>
            <a:stretch>
              <a:fillRect/>
            </a:stretch>
          </p:blipFill>
          <p:spPr>
            <a:xfrm>
              <a:off x="7547410" y="2235313"/>
              <a:ext cx="308187" cy="357895"/>
            </a:xfrm>
            <a:prstGeom prst="rect">
              <a:avLst/>
            </a:prstGeom>
          </p:spPr>
        </p:pic>
        <p:sp>
          <p:nvSpPr>
            <p:cNvPr id="66" name="TextBox 65">
              <a:extLst>
                <a:ext uri="{FF2B5EF4-FFF2-40B4-BE49-F238E27FC236}">
                  <a16:creationId xmlns:a16="http://schemas.microsoft.com/office/drawing/2014/main" id="{2349B827-A79C-4E79-A3D1-FF14D41CEC94}"/>
                </a:ext>
              </a:extLst>
            </p:cNvPr>
            <p:cNvSpPr txBox="1"/>
            <p:nvPr/>
          </p:nvSpPr>
          <p:spPr>
            <a:xfrm>
              <a:off x="8228650" y="1906429"/>
              <a:ext cx="3679822" cy="1015663"/>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Identify in-scope service area(s) and their function(s) provided through the Federal Integrated Business Framework (FIBF) website (e.g. financial management, human capital, acquisition, grants management, travel)</a:t>
              </a:r>
            </a:p>
          </p:txBody>
        </p:sp>
      </p:grpSp>
      <p:grpSp>
        <p:nvGrpSpPr>
          <p:cNvPr id="10" name="Group 9">
            <a:extLst>
              <a:ext uri="{FF2B5EF4-FFF2-40B4-BE49-F238E27FC236}">
                <a16:creationId xmlns:a16="http://schemas.microsoft.com/office/drawing/2014/main" id="{8EBFBA28-E321-4998-906E-896AA5457263}"/>
              </a:ext>
            </a:extLst>
          </p:cNvPr>
          <p:cNvGrpSpPr/>
          <p:nvPr/>
        </p:nvGrpSpPr>
        <p:grpSpPr>
          <a:xfrm>
            <a:off x="7547410" y="2966196"/>
            <a:ext cx="4361062" cy="646331"/>
            <a:chOff x="7547410" y="2726084"/>
            <a:chExt cx="4361062" cy="646331"/>
          </a:xfrm>
        </p:grpSpPr>
        <p:pic>
          <p:nvPicPr>
            <p:cNvPr id="53" name="Picture 52">
              <a:extLst>
                <a:ext uri="{FF2B5EF4-FFF2-40B4-BE49-F238E27FC236}">
                  <a16:creationId xmlns:a16="http://schemas.microsoft.com/office/drawing/2014/main" id="{20E9B491-DB76-4B97-B48F-3D0FE905EB49}"/>
                </a:ext>
              </a:extLst>
            </p:cNvPr>
            <p:cNvPicPr>
              <a:picLocks noChangeAspect="1"/>
            </p:cNvPicPr>
            <p:nvPr/>
          </p:nvPicPr>
          <p:blipFill>
            <a:blip r:embed="rId7"/>
            <a:stretch>
              <a:fillRect/>
            </a:stretch>
          </p:blipFill>
          <p:spPr>
            <a:xfrm>
              <a:off x="7547410" y="2870302"/>
              <a:ext cx="308187" cy="357895"/>
            </a:xfrm>
            <a:prstGeom prst="rect">
              <a:avLst/>
            </a:prstGeom>
          </p:spPr>
        </p:pic>
        <p:sp>
          <p:nvSpPr>
            <p:cNvPr id="67" name="TextBox 66">
              <a:extLst>
                <a:ext uri="{FF2B5EF4-FFF2-40B4-BE49-F238E27FC236}">
                  <a16:creationId xmlns:a16="http://schemas.microsoft.com/office/drawing/2014/main" id="{9A455A70-15F3-48D9-B721-C18EBA186CAD}"/>
                </a:ext>
              </a:extLst>
            </p:cNvPr>
            <p:cNvSpPr txBox="1"/>
            <p:nvPr/>
          </p:nvSpPr>
          <p:spPr>
            <a:xfrm>
              <a:off x="8228651" y="2726084"/>
              <a:ext cx="3679821" cy="646331"/>
            </a:xfrm>
            <a:prstGeom prst="rect">
              <a:avLst/>
            </a:prstGeom>
            <a:noFill/>
          </p:spPr>
          <p:txBody>
            <a:bodyPr wrap="square" rtlCol="0">
              <a:spAutoFit/>
            </a:bodyPr>
            <a:lstStyle/>
            <a:p>
              <a:pPr lvl="0">
                <a:spcBef>
                  <a:spcPts val="1800"/>
                </a:spcBef>
                <a:buClr>
                  <a:srgbClr val="FFFFFF"/>
                </a:buClr>
                <a:defRPr/>
              </a:pPr>
              <a:r>
                <a:rPr lang="en-US" sz="1200" kern="1200">
                  <a:solidFill>
                    <a:srgbClr val="FFFFFF"/>
                  </a:solidFill>
                </a:rPr>
                <a:t>Conduct initial market research with QSMOs to identify and understand the current offerings available within the QSMO Marketplace</a:t>
              </a:r>
            </a:p>
          </p:txBody>
        </p:sp>
      </p:grpSp>
      <p:grpSp>
        <p:nvGrpSpPr>
          <p:cNvPr id="9" name="Group 8">
            <a:extLst>
              <a:ext uri="{FF2B5EF4-FFF2-40B4-BE49-F238E27FC236}">
                <a16:creationId xmlns:a16="http://schemas.microsoft.com/office/drawing/2014/main" id="{D23FABB6-B715-47F3-B02B-115D4328D2E7}"/>
              </a:ext>
            </a:extLst>
          </p:cNvPr>
          <p:cNvGrpSpPr/>
          <p:nvPr/>
        </p:nvGrpSpPr>
        <p:grpSpPr>
          <a:xfrm>
            <a:off x="7547410" y="3652222"/>
            <a:ext cx="4361062" cy="646331"/>
            <a:chOff x="7547410" y="3345377"/>
            <a:chExt cx="4361062" cy="646331"/>
          </a:xfrm>
        </p:grpSpPr>
        <p:pic>
          <p:nvPicPr>
            <p:cNvPr id="59" name="Picture 58">
              <a:extLst>
                <a:ext uri="{FF2B5EF4-FFF2-40B4-BE49-F238E27FC236}">
                  <a16:creationId xmlns:a16="http://schemas.microsoft.com/office/drawing/2014/main" id="{2540B024-52D9-4BAF-A7B3-1A5CB2F98664}"/>
                </a:ext>
              </a:extLst>
            </p:cNvPr>
            <p:cNvPicPr>
              <a:picLocks noChangeAspect="1"/>
            </p:cNvPicPr>
            <p:nvPr/>
          </p:nvPicPr>
          <p:blipFill>
            <a:blip r:embed="rId7"/>
            <a:stretch>
              <a:fillRect/>
            </a:stretch>
          </p:blipFill>
          <p:spPr>
            <a:xfrm>
              <a:off x="7547410" y="3489595"/>
              <a:ext cx="308187" cy="357895"/>
            </a:xfrm>
            <a:prstGeom prst="rect">
              <a:avLst/>
            </a:prstGeom>
          </p:spPr>
        </p:pic>
        <p:sp>
          <p:nvSpPr>
            <p:cNvPr id="73" name="TextBox 72">
              <a:extLst>
                <a:ext uri="{FF2B5EF4-FFF2-40B4-BE49-F238E27FC236}">
                  <a16:creationId xmlns:a16="http://schemas.microsoft.com/office/drawing/2014/main" id="{EB0601D6-3BE2-42BB-A81D-ECBC86A6EA90}"/>
                </a:ext>
              </a:extLst>
            </p:cNvPr>
            <p:cNvSpPr txBox="1"/>
            <p:nvPr/>
          </p:nvSpPr>
          <p:spPr>
            <a:xfrm>
              <a:off x="8228651" y="3345377"/>
              <a:ext cx="3679821" cy="646331"/>
            </a:xfrm>
            <a:prstGeom prst="rect">
              <a:avLst/>
            </a:prstGeom>
            <a:noFill/>
          </p:spPr>
          <p:txBody>
            <a:bodyPr wrap="square" rtlCol="0">
              <a:spAutoFit/>
            </a:bodyPr>
            <a:lstStyle/>
            <a:p>
              <a:pPr lvl="0">
                <a:spcBef>
                  <a:spcPts val="1800"/>
                </a:spcBef>
                <a:buClr>
                  <a:srgbClr val="FFFFFF"/>
                </a:buClr>
                <a:defRPr/>
              </a:pPr>
              <a:r>
                <a:rPr lang="en-US" sz="1200" kern="1200">
                  <a:solidFill>
                    <a:srgbClr val="FFFFFF"/>
                  </a:solidFill>
                </a:rPr>
                <a:t>Solicit information from relevant QSMOs in the planning process as needed when defining the Scope of Services</a:t>
              </a:r>
            </a:p>
          </p:txBody>
        </p:sp>
      </p:grpSp>
      <p:grpSp>
        <p:nvGrpSpPr>
          <p:cNvPr id="8" name="Group 7">
            <a:extLst>
              <a:ext uri="{FF2B5EF4-FFF2-40B4-BE49-F238E27FC236}">
                <a16:creationId xmlns:a16="http://schemas.microsoft.com/office/drawing/2014/main" id="{21D229F2-1174-4C45-B1AF-8B198B1CEB96}"/>
              </a:ext>
            </a:extLst>
          </p:cNvPr>
          <p:cNvGrpSpPr/>
          <p:nvPr/>
        </p:nvGrpSpPr>
        <p:grpSpPr>
          <a:xfrm>
            <a:off x="7547410" y="4338248"/>
            <a:ext cx="4358193" cy="830997"/>
            <a:chOff x="7547410" y="4024666"/>
            <a:chExt cx="4358193" cy="830997"/>
          </a:xfrm>
        </p:grpSpPr>
        <p:pic>
          <p:nvPicPr>
            <p:cNvPr id="68" name="Picture 67">
              <a:extLst>
                <a:ext uri="{FF2B5EF4-FFF2-40B4-BE49-F238E27FC236}">
                  <a16:creationId xmlns:a16="http://schemas.microsoft.com/office/drawing/2014/main" id="{4D81152E-98F1-4E97-832F-12294C66F0F1}"/>
                </a:ext>
              </a:extLst>
            </p:cNvPr>
            <p:cNvPicPr>
              <a:picLocks noChangeAspect="1"/>
            </p:cNvPicPr>
            <p:nvPr/>
          </p:nvPicPr>
          <p:blipFill>
            <a:blip r:embed="rId7"/>
            <a:stretch>
              <a:fillRect/>
            </a:stretch>
          </p:blipFill>
          <p:spPr>
            <a:xfrm>
              <a:off x="7547410" y="4261217"/>
              <a:ext cx="308187" cy="357895"/>
            </a:xfrm>
            <a:prstGeom prst="rect">
              <a:avLst/>
            </a:prstGeom>
          </p:spPr>
        </p:pic>
        <p:sp>
          <p:nvSpPr>
            <p:cNvPr id="74" name="TextBox 73">
              <a:extLst>
                <a:ext uri="{FF2B5EF4-FFF2-40B4-BE49-F238E27FC236}">
                  <a16:creationId xmlns:a16="http://schemas.microsoft.com/office/drawing/2014/main" id="{50079DD7-F6AA-4F3E-A8A4-669274D4229D}"/>
                </a:ext>
              </a:extLst>
            </p:cNvPr>
            <p:cNvSpPr txBox="1"/>
            <p:nvPr/>
          </p:nvSpPr>
          <p:spPr>
            <a:xfrm>
              <a:off x="8231519" y="4024666"/>
              <a:ext cx="3674084" cy="830997"/>
            </a:xfrm>
            <a:prstGeom prst="rect">
              <a:avLst/>
            </a:prstGeom>
            <a:noFill/>
          </p:spPr>
          <p:txBody>
            <a:bodyPr wrap="square" rtlCol="0">
              <a:spAutoFit/>
            </a:bodyPr>
            <a:lstStyle/>
            <a:p>
              <a:pPr lvl="0">
                <a:spcBef>
                  <a:spcPts val="1800"/>
                </a:spcBef>
                <a:buClr>
                  <a:srgbClr val="FFFFFF"/>
                </a:buClr>
                <a:defRPr/>
              </a:pPr>
              <a:r>
                <a:rPr lang="en-US" sz="1200" kern="1200">
                  <a:solidFill>
                    <a:srgbClr val="FFFFFF"/>
                  </a:solidFill>
                </a:rPr>
                <a:t>Develop the Project Business Case for funding using activity and output resources including existing performance metric data to assist in identifying performance targets </a:t>
              </a:r>
            </a:p>
          </p:txBody>
        </p:sp>
      </p:grpSp>
      <p:grpSp>
        <p:nvGrpSpPr>
          <p:cNvPr id="3" name="Group 2">
            <a:extLst>
              <a:ext uri="{FF2B5EF4-FFF2-40B4-BE49-F238E27FC236}">
                <a16:creationId xmlns:a16="http://schemas.microsoft.com/office/drawing/2014/main" id="{99753C42-F47C-4808-8590-558708851FFF}"/>
              </a:ext>
            </a:extLst>
          </p:cNvPr>
          <p:cNvGrpSpPr/>
          <p:nvPr/>
        </p:nvGrpSpPr>
        <p:grpSpPr>
          <a:xfrm>
            <a:off x="7547410" y="5208939"/>
            <a:ext cx="4358193" cy="461665"/>
            <a:chOff x="7547410" y="5161439"/>
            <a:chExt cx="4358193" cy="461665"/>
          </a:xfrm>
        </p:grpSpPr>
        <p:pic>
          <p:nvPicPr>
            <p:cNvPr id="70" name="Picture 69">
              <a:extLst>
                <a:ext uri="{FF2B5EF4-FFF2-40B4-BE49-F238E27FC236}">
                  <a16:creationId xmlns:a16="http://schemas.microsoft.com/office/drawing/2014/main" id="{9E714DF4-517F-4E57-A9C0-383E733929C1}"/>
                </a:ext>
              </a:extLst>
            </p:cNvPr>
            <p:cNvPicPr>
              <a:picLocks noChangeAspect="1"/>
            </p:cNvPicPr>
            <p:nvPr/>
          </p:nvPicPr>
          <p:blipFill>
            <a:blip r:embed="rId7"/>
            <a:stretch>
              <a:fillRect/>
            </a:stretch>
          </p:blipFill>
          <p:spPr>
            <a:xfrm>
              <a:off x="7547410" y="5213324"/>
              <a:ext cx="308187" cy="357895"/>
            </a:xfrm>
            <a:prstGeom prst="rect">
              <a:avLst/>
            </a:prstGeom>
          </p:spPr>
        </p:pic>
        <p:sp>
          <p:nvSpPr>
            <p:cNvPr id="75" name="TextBox 74">
              <a:extLst>
                <a:ext uri="{FF2B5EF4-FFF2-40B4-BE49-F238E27FC236}">
                  <a16:creationId xmlns:a16="http://schemas.microsoft.com/office/drawing/2014/main" id="{983BC001-AB2B-4A29-A6F2-1506D4EE6978}"/>
                </a:ext>
              </a:extLst>
            </p:cNvPr>
            <p:cNvSpPr txBox="1"/>
            <p:nvPr/>
          </p:nvSpPr>
          <p:spPr>
            <a:xfrm>
              <a:off x="8231519" y="5161439"/>
              <a:ext cx="3674084"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Finalize vision statement, expected benefits, and high-level timelines</a:t>
              </a:r>
            </a:p>
          </p:txBody>
        </p:sp>
      </p:grpSp>
    </p:spTree>
    <p:extLst>
      <p:ext uri="{BB962C8B-B14F-4D97-AF65-F5344CB8AC3E}">
        <p14:creationId xmlns:p14="http://schemas.microsoft.com/office/powerpoint/2010/main" val="1868046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88A3E7-6558-47FD-91FA-D0EA9E266A34}"/>
              </a:ext>
            </a:extLst>
          </p:cNvPr>
          <p:cNvSpPr/>
          <p:nvPr/>
        </p:nvSpPr>
        <p:spPr>
          <a:xfrm>
            <a:off x="77034" y="544286"/>
            <a:ext cx="12071424" cy="6767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D579E0-6886-4322-B2B2-F22CC80F64B3}"/>
              </a:ext>
            </a:extLst>
          </p:cNvPr>
          <p:cNvSpPr/>
          <p:nvPr/>
        </p:nvSpPr>
        <p:spPr>
          <a:xfrm>
            <a:off x="528918" y="6222434"/>
            <a:ext cx="1228164" cy="51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nvGrpSpPr>
          <p:cNvPr id="19" name="Group 18">
            <a:extLst>
              <a:ext uri="{FF2B5EF4-FFF2-40B4-BE49-F238E27FC236}">
                <a16:creationId xmlns:a16="http://schemas.microsoft.com/office/drawing/2014/main" id="{A146E0D1-78D8-4DC4-8BB3-7CB2D7340D78}"/>
              </a:ext>
            </a:extLst>
          </p:cNvPr>
          <p:cNvGrpSpPr/>
          <p:nvPr/>
        </p:nvGrpSpPr>
        <p:grpSpPr>
          <a:xfrm>
            <a:off x="7007585" y="0"/>
            <a:ext cx="5184416" cy="6858000"/>
            <a:chOff x="1426029" y="1850572"/>
            <a:chExt cx="6193971" cy="4093030"/>
          </a:xfrm>
        </p:grpSpPr>
        <p:sp>
          <p:nvSpPr>
            <p:cNvPr id="20" name="Freeform: Shape 19">
              <a:extLst>
                <a:ext uri="{FF2B5EF4-FFF2-40B4-BE49-F238E27FC236}">
                  <a16:creationId xmlns:a16="http://schemas.microsoft.com/office/drawing/2014/main" id="{3E765E4C-69A4-441B-A03C-FBA2C4EA48C5}"/>
                </a:ext>
              </a:extLst>
            </p:cNvPr>
            <p:cNvSpPr/>
            <p:nvPr/>
          </p:nvSpPr>
          <p:spPr>
            <a:xfrm rot="5400000" flipH="1">
              <a:off x="2476500" y="800102"/>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21" name="Picture 20">
              <a:extLst>
                <a:ext uri="{FF2B5EF4-FFF2-40B4-BE49-F238E27FC236}">
                  <a16:creationId xmlns:a16="http://schemas.microsoft.com/office/drawing/2014/main" id="{1E6FBCF5-9558-4104-B8C5-451F6F7633AE}"/>
                </a:ext>
              </a:extLst>
            </p:cNvPr>
            <p:cNvPicPr>
              <a:picLocks noChangeAspect="1"/>
            </p:cNvPicPr>
            <p:nvPr/>
          </p:nvPicPr>
          <p:blipFill>
            <a:blip r:embed="rId3"/>
            <a:srcRect l="41956" t="30520" r="18072" b="13003"/>
            <a:stretch>
              <a:fillRect/>
            </a:stretch>
          </p:blipFill>
          <p:spPr>
            <a:xfrm rot="5400000" flipH="1">
              <a:off x="2476500" y="800101"/>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p:spPr>
        </p:pic>
      </p:grpSp>
      <p:sp>
        <p:nvSpPr>
          <p:cNvPr id="6" name="Slide Number Placeholder 5">
            <a:extLst>
              <a:ext uri="{FF2B5EF4-FFF2-40B4-BE49-F238E27FC236}">
                <a16:creationId xmlns:a16="http://schemas.microsoft.com/office/drawing/2014/main" id="{AC83790E-8BFC-469D-96E8-F9C16FC64CDA}"/>
              </a:ext>
            </a:extLst>
          </p:cNvPr>
          <p:cNvSpPr>
            <a:spLocks noGrp="1"/>
          </p:cNvSpPr>
          <p:nvPr>
            <p:ph type="sldNum" idx="10"/>
          </p:nvPr>
        </p:nvSpPr>
        <p:spPr>
          <a:xfrm>
            <a:off x="11037018" y="6015489"/>
            <a:ext cx="731600" cy="524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chemeClr val="bg1"/>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lang="en" sz="1200" b="1"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5" name="Text Placeholder 7">
            <a:extLst>
              <a:ext uri="{FF2B5EF4-FFF2-40B4-BE49-F238E27FC236}">
                <a16:creationId xmlns:a16="http://schemas.microsoft.com/office/drawing/2014/main" id="{9940FBCF-C3B4-4851-BDF2-E431FC8F4B4D}"/>
              </a:ext>
            </a:extLst>
          </p:cNvPr>
          <p:cNvSpPr txBox="1">
            <a:spLocks/>
          </p:cNvSpPr>
          <p:nvPr/>
        </p:nvSpPr>
        <p:spPr>
          <a:xfrm>
            <a:off x="425028" y="6497936"/>
            <a:ext cx="5348047" cy="243670"/>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050" b="0" i="0" u="none" strike="noStrike" kern="0" cap="none" spc="0" normalizeH="0" baseline="0" noProof="0" dirty="0">
                <a:ln>
                  <a:noFill/>
                </a:ln>
                <a:solidFill>
                  <a:srgbClr val="005087"/>
                </a:solidFill>
                <a:effectLst/>
                <a:uLnTx/>
                <a:uFillTx/>
                <a:latin typeface="Arial"/>
                <a:cs typeface="Arial"/>
                <a:sym typeface="Arial"/>
              </a:rPr>
              <a:t>* Learn more about the Readiness phase activities and templates by clicking </a:t>
            </a:r>
            <a:r>
              <a:rPr kumimoji="0" lang="en-US" sz="1050" b="0" i="0" u="none" strike="noStrike" kern="0" cap="none" spc="0" normalizeH="0" baseline="0" noProof="0" dirty="0">
                <a:ln>
                  <a:noFill/>
                </a:ln>
                <a:solidFill>
                  <a:srgbClr val="005087"/>
                </a:solidFill>
                <a:effectLst/>
                <a:uLnTx/>
                <a:uFillTx/>
                <a:latin typeface="Arial"/>
                <a:cs typeface="Arial"/>
                <a:sym typeface="Arial"/>
                <a:hlinkClick r:id="rId4">
                  <a:extLst>
                    <a:ext uri="{A12FA001-AC4F-418D-AE19-62706E023703}">
                      <ahyp:hlinkClr xmlns:ahyp="http://schemas.microsoft.com/office/drawing/2018/hyperlinkcolor" val="tx"/>
                    </a:ext>
                  </a:extLst>
                </a:hlinkClick>
              </a:rPr>
              <a:t>here</a:t>
            </a:r>
            <a:endParaRPr kumimoji="0" lang="en-US" sz="1050" b="0" i="0" u="none" strike="noStrike" kern="0" cap="none" spc="0" normalizeH="0" baseline="0" noProof="0" dirty="0">
              <a:ln>
                <a:noFill/>
              </a:ln>
              <a:solidFill>
                <a:srgbClr val="005087"/>
              </a:solidFill>
              <a:effectLst/>
              <a:uLnTx/>
              <a:uFillTx/>
              <a:latin typeface="Arial"/>
              <a:cs typeface="Arial"/>
              <a:sym typeface="Arial"/>
            </a:endParaRPr>
          </a:p>
        </p:txBody>
      </p:sp>
      <p:cxnSp>
        <p:nvCxnSpPr>
          <p:cNvPr id="22" name="Straight Connector 21">
            <a:extLst>
              <a:ext uri="{FF2B5EF4-FFF2-40B4-BE49-F238E27FC236}">
                <a16:creationId xmlns:a16="http://schemas.microsoft.com/office/drawing/2014/main" id="{56417584-F4CD-489B-90C1-6EEAFC9708F8}"/>
              </a:ext>
            </a:extLst>
          </p:cNvPr>
          <p:cNvCxnSpPr>
            <a:cxnSpLocks/>
          </p:cNvCxnSpPr>
          <p:nvPr/>
        </p:nvCxnSpPr>
        <p:spPr>
          <a:xfrm>
            <a:off x="-4392" y="936183"/>
            <a:ext cx="5895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F1C974B4-7A26-4ECA-BA8F-BD644EE9ED1E}"/>
              </a:ext>
            </a:extLst>
          </p:cNvPr>
          <p:cNvSpPr>
            <a:spLocks noGrp="1"/>
          </p:cNvSpPr>
          <p:nvPr>
            <p:ph type="title"/>
          </p:nvPr>
        </p:nvSpPr>
        <p:spPr>
          <a:xfrm>
            <a:off x="638355" y="321995"/>
            <a:ext cx="10938293" cy="855691"/>
          </a:xfrm>
        </p:spPr>
        <p:txBody>
          <a:bodyPr/>
          <a:lstStyle/>
          <a:p>
            <a:r>
              <a:rPr lang="en-US" dirty="0">
                <a:solidFill>
                  <a:schemeClr val="tx1"/>
                </a:solidFill>
              </a:rPr>
              <a:t>Phase 1: Readiness</a:t>
            </a:r>
          </a:p>
        </p:txBody>
      </p:sp>
      <p:sp>
        <p:nvSpPr>
          <p:cNvPr id="92" name="Text Placeholder 7">
            <a:extLst>
              <a:ext uri="{FF2B5EF4-FFF2-40B4-BE49-F238E27FC236}">
                <a16:creationId xmlns:a16="http://schemas.microsoft.com/office/drawing/2014/main" id="{C2ED52EA-7EA1-4BE9-AFED-54B7E54F8247}"/>
              </a:ext>
            </a:extLst>
          </p:cNvPr>
          <p:cNvSpPr txBox="1">
            <a:spLocks/>
          </p:cNvSpPr>
          <p:nvPr/>
        </p:nvSpPr>
        <p:spPr>
          <a:xfrm>
            <a:off x="7436338" y="678567"/>
            <a:ext cx="4384221" cy="1556143"/>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800" b="1" i="0" u="none" strike="noStrike" kern="0" cap="none" spc="0" normalizeH="0" baseline="0" noProof="0" dirty="0">
                <a:ln>
                  <a:noFill/>
                </a:ln>
                <a:solidFill>
                  <a:srgbClr val="FFFFFF"/>
                </a:solidFill>
                <a:effectLst/>
                <a:uLnTx/>
                <a:uFillTx/>
                <a:latin typeface="Arial"/>
                <a:cs typeface="Arial"/>
                <a:sym typeface="Arial"/>
              </a:rPr>
              <a:t>Key Activities*</a:t>
            </a:r>
          </a:p>
        </p:txBody>
      </p:sp>
      <p:pic>
        <p:nvPicPr>
          <p:cNvPr id="62" name="Picture 61">
            <a:extLst>
              <a:ext uri="{FF2B5EF4-FFF2-40B4-BE49-F238E27FC236}">
                <a16:creationId xmlns:a16="http://schemas.microsoft.com/office/drawing/2014/main" id="{67DC8E77-78A4-49B3-86F8-FAEB6CD58CFA}"/>
              </a:ext>
            </a:extLst>
          </p:cNvPr>
          <p:cNvPicPr>
            <a:picLocks noChangeAspect="1"/>
          </p:cNvPicPr>
          <p:nvPr/>
        </p:nvPicPr>
        <p:blipFill>
          <a:blip r:embed="rId5"/>
          <a:stretch>
            <a:fillRect/>
          </a:stretch>
        </p:blipFill>
        <p:spPr>
          <a:xfrm>
            <a:off x="7576143" y="1388682"/>
            <a:ext cx="251871" cy="314838"/>
          </a:xfrm>
          <a:prstGeom prst="rect">
            <a:avLst/>
          </a:prstGeom>
        </p:spPr>
      </p:pic>
      <p:sp>
        <p:nvSpPr>
          <p:cNvPr id="52" name="Footer Placeholder 2">
            <a:extLst>
              <a:ext uri="{FF2B5EF4-FFF2-40B4-BE49-F238E27FC236}">
                <a16:creationId xmlns:a16="http://schemas.microsoft.com/office/drawing/2014/main" id="{734000D9-68DA-421B-A470-3A1AA592AD7D}"/>
              </a:ext>
            </a:extLst>
          </p:cNvPr>
          <p:cNvSpPr>
            <a:spLocks noGrp="1"/>
          </p:cNvSpPr>
          <p:nvPr>
            <p:ph type="ftr" sz="quarter" idx="11"/>
          </p:nvPr>
        </p:nvSpPr>
        <p:spPr>
          <a:xfrm>
            <a:off x="8077200" y="76362"/>
            <a:ext cx="3499448" cy="254259"/>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chemeClr val="bg1"/>
                </a:solidFill>
                <a:effectLst/>
                <a:uLnTx/>
                <a:uFillTx/>
                <a:latin typeface="Arial"/>
                <a:ea typeface="+mn-ea"/>
                <a:cs typeface="Arial"/>
                <a:sym typeface="Arial"/>
              </a:rPr>
              <a:t>M3 Playbook Orientation</a:t>
            </a:r>
          </a:p>
        </p:txBody>
      </p:sp>
      <p:cxnSp>
        <p:nvCxnSpPr>
          <p:cNvPr id="45" name="Straight Connector 44">
            <a:extLst>
              <a:ext uri="{FF2B5EF4-FFF2-40B4-BE49-F238E27FC236}">
                <a16:creationId xmlns:a16="http://schemas.microsoft.com/office/drawing/2014/main" id="{45B0AC14-F726-4D9D-ACD7-497E8C54C8CB}"/>
              </a:ext>
            </a:extLst>
          </p:cNvPr>
          <p:cNvCxnSpPr>
            <a:cxnSpLocks/>
          </p:cNvCxnSpPr>
          <p:nvPr/>
        </p:nvCxnSpPr>
        <p:spPr>
          <a:xfrm flipV="1">
            <a:off x="-4392" y="920967"/>
            <a:ext cx="6206888" cy="15216"/>
          </a:xfrm>
          <a:prstGeom prst="line">
            <a:avLst/>
          </a:prstGeom>
          <a:ln>
            <a:solidFill>
              <a:srgbClr val="92D050"/>
            </a:solidFill>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2F2FE07A-06C4-4F41-8DB9-8DC750D52F8F}"/>
              </a:ext>
            </a:extLst>
          </p:cNvPr>
          <p:cNvGrpSpPr/>
          <p:nvPr/>
        </p:nvGrpSpPr>
        <p:grpSpPr>
          <a:xfrm>
            <a:off x="483489" y="3942609"/>
            <a:ext cx="5938769" cy="2551226"/>
            <a:chOff x="5426229" y="3780826"/>
            <a:chExt cx="5938769" cy="2551226"/>
          </a:xfrm>
        </p:grpSpPr>
        <p:sp>
          <p:nvSpPr>
            <p:cNvPr id="55" name="Content Placeholder 2">
              <a:extLst>
                <a:ext uri="{FF2B5EF4-FFF2-40B4-BE49-F238E27FC236}">
                  <a16:creationId xmlns:a16="http://schemas.microsoft.com/office/drawing/2014/main" id="{2A69E128-FA95-483E-9E7A-65B2AB41F9D6}"/>
                </a:ext>
              </a:extLst>
            </p:cNvPr>
            <p:cNvSpPr txBox="1">
              <a:spLocks/>
            </p:cNvSpPr>
            <p:nvPr/>
          </p:nvSpPr>
          <p:spPr>
            <a:xfrm>
              <a:off x="5427826" y="3922329"/>
              <a:ext cx="2104166"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Project Business Case</a:t>
              </a:r>
            </a:p>
            <a:p>
              <a:pPr marL="109728" lvl="0" indent="-109728">
                <a:spcBef>
                  <a:spcPts val="400"/>
                </a:spcBef>
                <a:buClr>
                  <a:srgbClr val="160083"/>
                </a:buClr>
                <a:buSzPct val="100000"/>
              </a:pPr>
              <a:r>
                <a:rPr lang="en-US" sz="1100">
                  <a:solidFill>
                    <a:srgbClr val="000000"/>
                  </a:solidFill>
                  <a:ea typeface="Arial"/>
                  <a:cs typeface="Arial"/>
                </a:rPr>
                <a:t>Vision Statement</a:t>
              </a:r>
              <a:endParaRPr lang="en-US" sz="1100" u="sng">
                <a:solidFill>
                  <a:srgbClr val="0070C0"/>
                </a:solidFill>
                <a:latin typeface="Arial" panose="020B0604020202020204"/>
                <a:ea typeface="Arial"/>
                <a:cs typeface="Arial"/>
              </a:endParaRPr>
            </a:p>
            <a:p>
              <a:pPr marL="109728" lvl="0" indent="-109728">
                <a:spcBef>
                  <a:spcPts val="400"/>
                </a:spcBef>
                <a:buClr>
                  <a:srgbClr val="160083"/>
                </a:buClr>
                <a:buSzPct val="100000"/>
              </a:pPr>
              <a:r>
                <a:rPr lang="en-US" sz="1100">
                  <a:solidFill>
                    <a:srgbClr val="000000"/>
                  </a:solidFill>
                  <a:ea typeface="Arial"/>
                  <a:cs typeface="Arial"/>
                </a:rPr>
                <a:t>As-Is Workforce Documentation</a:t>
              </a:r>
            </a:p>
            <a:p>
              <a:pPr marL="109728" lvl="0" indent="-109728">
                <a:spcBef>
                  <a:spcPts val="400"/>
                </a:spcBef>
                <a:buClr>
                  <a:srgbClr val="160083"/>
                </a:buClr>
                <a:buSzPct val="100000"/>
              </a:pPr>
              <a:r>
                <a:rPr lang="en-US" sz="1100">
                  <a:solidFill>
                    <a:srgbClr val="000000"/>
                  </a:solidFill>
                  <a:ea typeface="Arial"/>
                  <a:cs typeface="Arial"/>
                </a:rPr>
                <a:t>Current Organization Structure</a:t>
              </a:r>
            </a:p>
          </p:txBody>
        </p:sp>
        <p:sp>
          <p:nvSpPr>
            <p:cNvPr id="57" name="Content Placeholder 2">
              <a:extLst>
                <a:ext uri="{FF2B5EF4-FFF2-40B4-BE49-F238E27FC236}">
                  <a16:creationId xmlns:a16="http://schemas.microsoft.com/office/drawing/2014/main" id="{B082D674-97EB-4783-B5A1-D74E28432231}"/>
                </a:ext>
              </a:extLst>
            </p:cNvPr>
            <p:cNvSpPr txBox="1">
              <a:spLocks/>
            </p:cNvSpPr>
            <p:nvPr/>
          </p:nvSpPr>
          <p:spPr>
            <a:xfrm>
              <a:off x="8623954" y="3922329"/>
              <a:ext cx="2741044" cy="559640"/>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Business Readiness Assessment</a:t>
              </a:r>
            </a:p>
            <a:p>
              <a:pPr marL="109728" lvl="0" indent="-109728">
                <a:spcBef>
                  <a:spcPts val="400"/>
                </a:spcBef>
                <a:buClr>
                  <a:srgbClr val="160083"/>
                </a:buClr>
                <a:buSzPct val="100000"/>
              </a:pPr>
              <a:r>
                <a:rPr lang="en-US" sz="1100">
                  <a:solidFill>
                    <a:srgbClr val="000000"/>
                  </a:solidFill>
                  <a:ea typeface="Arial"/>
                  <a:cs typeface="Arial"/>
                </a:rPr>
                <a:t>Communications Plan</a:t>
              </a:r>
            </a:p>
            <a:p>
              <a:pPr marL="109728" lvl="0" indent="-109728">
                <a:spcBef>
                  <a:spcPts val="400"/>
                </a:spcBef>
                <a:buClr>
                  <a:srgbClr val="160083"/>
                </a:buClr>
                <a:buSzPct val="100000"/>
              </a:pPr>
              <a:r>
                <a:rPr lang="en-US" sz="1100">
                  <a:solidFill>
                    <a:srgbClr val="000000"/>
                  </a:solidFill>
                  <a:ea typeface="Arial"/>
                  <a:cs typeface="Arial"/>
                </a:rPr>
                <a:t>Migration and O&amp;M training needs</a:t>
              </a: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60" name="Content Placeholder 2">
              <a:extLst>
                <a:ext uri="{FF2B5EF4-FFF2-40B4-BE49-F238E27FC236}">
                  <a16:creationId xmlns:a16="http://schemas.microsoft.com/office/drawing/2014/main" id="{98739D45-CAE7-41F8-B4CC-9CAA32BF915F}"/>
                </a:ext>
              </a:extLst>
            </p:cNvPr>
            <p:cNvSpPr txBox="1">
              <a:spLocks/>
            </p:cNvSpPr>
            <p:nvPr/>
          </p:nvSpPr>
          <p:spPr>
            <a:xfrm>
              <a:off x="5426231" y="5365121"/>
              <a:ext cx="2192264" cy="966931"/>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PMO Team</a:t>
              </a:r>
            </a:p>
            <a:p>
              <a:pPr marL="109728" lvl="0" indent="-109728">
                <a:spcBef>
                  <a:spcPts val="400"/>
                </a:spcBef>
                <a:buClr>
                  <a:srgbClr val="160083"/>
                </a:buClr>
                <a:buSzPct val="100000"/>
              </a:pPr>
              <a:r>
                <a:rPr lang="en-US" sz="1100">
                  <a:solidFill>
                    <a:srgbClr val="000000"/>
                  </a:solidFill>
                  <a:ea typeface="Arial"/>
                  <a:cs typeface="Arial"/>
                </a:rPr>
                <a:t>Change Management Lead</a:t>
              </a:r>
            </a:p>
            <a:p>
              <a:pPr marL="109728" lvl="0" indent="-109728">
                <a:spcBef>
                  <a:spcPts val="400"/>
                </a:spcBef>
                <a:buClr>
                  <a:srgbClr val="160083"/>
                </a:buClr>
                <a:buSzPct val="100000"/>
              </a:pPr>
              <a:r>
                <a:rPr lang="en-US" sz="1100">
                  <a:solidFill>
                    <a:srgbClr val="000000"/>
                  </a:solidFill>
                  <a:ea typeface="Arial"/>
                  <a:cs typeface="Arial"/>
                </a:rPr>
                <a:t>Communications Lead</a:t>
              </a:r>
            </a:p>
            <a:p>
              <a:pPr marL="109728" indent="-109728">
                <a:spcBef>
                  <a:spcPts val="400"/>
                </a:spcBef>
                <a:buClr>
                  <a:srgbClr val="160083"/>
                </a:buClr>
                <a:buSzPct val="100000"/>
              </a:pPr>
              <a:r>
                <a:rPr lang="en-US" sz="1100">
                  <a:solidFill>
                    <a:srgbClr val="000000"/>
                  </a:solidFill>
                  <a:ea typeface="Arial"/>
                  <a:cs typeface="Arial"/>
                </a:rPr>
                <a:t>Executive Sponsor</a:t>
              </a:r>
            </a:p>
            <a:p>
              <a:pPr marL="109728" lvl="0" indent="-109728">
                <a:spcBef>
                  <a:spcPts val="400"/>
                </a:spcBef>
                <a:buClr>
                  <a:srgbClr val="160083"/>
                </a:buClr>
                <a:buSzPct val="100000"/>
              </a:pP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61" name="Content Placeholder 2">
              <a:extLst>
                <a:ext uri="{FF2B5EF4-FFF2-40B4-BE49-F238E27FC236}">
                  <a16:creationId xmlns:a16="http://schemas.microsoft.com/office/drawing/2014/main" id="{38A8AC54-9F07-4195-809B-4B3EA7B0BCAA}"/>
                </a:ext>
              </a:extLst>
            </p:cNvPr>
            <p:cNvSpPr txBox="1">
              <a:spLocks/>
            </p:cNvSpPr>
            <p:nvPr/>
          </p:nvSpPr>
          <p:spPr>
            <a:xfrm>
              <a:off x="8570028" y="5365121"/>
              <a:ext cx="1739227"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Business Owner</a:t>
              </a:r>
            </a:p>
            <a:p>
              <a:pPr marL="109728" lvl="0" indent="-109728">
                <a:spcBef>
                  <a:spcPts val="400"/>
                </a:spcBef>
                <a:buClr>
                  <a:srgbClr val="160083"/>
                </a:buClr>
                <a:buSzPct val="100000"/>
              </a:pPr>
              <a:r>
                <a:rPr lang="en-US" sz="1100">
                  <a:solidFill>
                    <a:srgbClr val="000000"/>
                  </a:solidFill>
                  <a:ea typeface="Arial"/>
                  <a:cs typeface="Arial"/>
                </a:rPr>
                <a:t>Program Manager</a:t>
              </a:r>
            </a:p>
            <a:p>
              <a:pPr marL="109728" lvl="0" indent="-109728">
                <a:spcBef>
                  <a:spcPts val="400"/>
                </a:spcBef>
                <a:buClr>
                  <a:srgbClr val="160083"/>
                </a:buClr>
                <a:buSzPct val="100000"/>
              </a:pPr>
              <a:r>
                <a:rPr lang="en-US" sz="1100">
                  <a:solidFill>
                    <a:srgbClr val="000000"/>
                  </a:solidFill>
                  <a:ea typeface="Arial"/>
                  <a:cs typeface="Arial"/>
                </a:rPr>
                <a:t>QSMO</a:t>
              </a: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69" name="Rectangle 68">
              <a:extLst>
                <a:ext uri="{FF2B5EF4-FFF2-40B4-BE49-F238E27FC236}">
                  <a16:creationId xmlns:a16="http://schemas.microsoft.com/office/drawing/2014/main" id="{10635758-E859-4A64-BD72-71D397161DF9}"/>
                </a:ext>
              </a:extLst>
            </p:cNvPr>
            <p:cNvSpPr/>
            <p:nvPr/>
          </p:nvSpPr>
          <p:spPr>
            <a:xfrm>
              <a:off x="8623953"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7723294C-428E-4424-9576-5D3F07AB11BC}"/>
                </a:ext>
              </a:extLst>
            </p:cNvPr>
            <p:cNvSpPr/>
            <p:nvPr/>
          </p:nvSpPr>
          <p:spPr>
            <a:xfrm>
              <a:off x="5427826"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7D0C3C43-DE3D-4A31-9B53-FB9D5001744D}"/>
                </a:ext>
              </a:extLst>
            </p:cNvPr>
            <p:cNvSpPr/>
            <p:nvPr/>
          </p:nvSpPr>
          <p:spPr>
            <a:xfrm flipV="1">
              <a:off x="5426229" y="5208536"/>
              <a:ext cx="5669280"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3" name="Group 2">
            <a:extLst>
              <a:ext uri="{FF2B5EF4-FFF2-40B4-BE49-F238E27FC236}">
                <a16:creationId xmlns:a16="http://schemas.microsoft.com/office/drawing/2014/main" id="{8631FFFF-7D14-4BCF-A5F0-9483D74F3DDD}"/>
              </a:ext>
            </a:extLst>
          </p:cNvPr>
          <p:cNvGrpSpPr/>
          <p:nvPr/>
        </p:nvGrpSpPr>
        <p:grpSpPr>
          <a:xfrm>
            <a:off x="374904" y="1197864"/>
            <a:ext cx="6126480" cy="2261719"/>
            <a:chOff x="5166360" y="945114"/>
            <a:chExt cx="6592824" cy="2404872"/>
          </a:xfrm>
        </p:grpSpPr>
        <p:grpSp>
          <p:nvGrpSpPr>
            <p:cNvPr id="77" name="Group 76">
              <a:extLst>
                <a:ext uri="{FF2B5EF4-FFF2-40B4-BE49-F238E27FC236}">
                  <a16:creationId xmlns:a16="http://schemas.microsoft.com/office/drawing/2014/main" id="{2FB3CF52-204E-4020-8B99-E241B305CDC9}"/>
                </a:ext>
              </a:extLst>
            </p:cNvPr>
            <p:cNvGrpSpPr/>
            <p:nvPr/>
          </p:nvGrpSpPr>
          <p:grpSpPr>
            <a:xfrm>
              <a:off x="5166360" y="945114"/>
              <a:ext cx="6592824" cy="2404872"/>
              <a:chOff x="2040080" y="1525430"/>
              <a:chExt cx="8111840" cy="2976713"/>
            </a:xfrm>
          </p:grpSpPr>
          <p:grpSp>
            <p:nvGrpSpPr>
              <p:cNvPr id="78" name="Group 77">
                <a:extLst>
                  <a:ext uri="{FF2B5EF4-FFF2-40B4-BE49-F238E27FC236}">
                    <a16:creationId xmlns:a16="http://schemas.microsoft.com/office/drawing/2014/main" id="{36AD1AE2-1AB0-481E-BFB2-418BF4FE4812}"/>
                  </a:ext>
                </a:extLst>
              </p:cNvPr>
              <p:cNvGrpSpPr/>
              <p:nvPr/>
            </p:nvGrpSpPr>
            <p:grpSpPr>
              <a:xfrm>
                <a:off x="2040080" y="1525430"/>
                <a:ext cx="8111840" cy="2976713"/>
                <a:chOff x="2040080" y="1525430"/>
                <a:chExt cx="8111840" cy="2976713"/>
              </a:xfrm>
            </p:grpSpPr>
            <p:pic>
              <p:nvPicPr>
                <p:cNvPr id="84" name="Picture 83">
                  <a:hlinkClick r:id="rId4"/>
                  <a:extLst>
                    <a:ext uri="{FF2B5EF4-FFF2-40B4-BE49-F238E27FC236}">
                      <a16:creationId xmlns:a16="http://schemas.microsoft.com/office/drawing/2014/main" id="{84DE8289-463F-416C-995B-C21BB6F12742}"/>
                    </a:ext>
                  </a:extLst>
                </p:cNvPr>
                <p:cNvPicPr>
                  <a:picLocks noChangeAspect="1"/>
                </p:cNvPicPr>
                <p:nvPr/>
              </p:nvPicPr>
              <p:blipFill>
                <a:blip r:embed="rId6"/>
                <a:stretch>
                  <a:fillRect/>
                </a:stretch>
              </p:blipFill>
              <p:spPr>
                <a:xfrm>
                  <a:off x="2040080" y="1525430"/>
                  <a:ext cx="8111840" cy="2958163"/>
                </a:xfrm>
                <a:prstGeom prst="rect">
                  <a:avLst/>
                </a:prstGeom>
                <a:solidFill>
                  <a:schemeClr val="bg1">
                    <a:lumMod val="95000"/>
                    <a:alpha val="51000"/>
                  </a:schemeClr>
                </a:solidFill>
                <a:ln>
                  <a:noFill/>
                </a:ln>
              </p:spPr>
            </p:pic>
            <p:sp>
              <p:nvSpPr>
                <p:cNvPr id="85" name="Freeform: Shape 84">
                  <a:extLst>
                    <a:ext uri="{FF2B5EF4-FFF2-40B4-BE49-F238E27FC236}">
                      <a16:creationId xmlns:a16="http://schemas.microsoft.com/office/drawing/2014/main" id="{4B75FB0D-0C18-4D77-9B7E-91D2B805B08D}"/>
                    </a:ext>
                  </a:extLst>
                </p:cNvPr>
                <p:cNvSpPr/>
                <p:nvPr/>
              </p:nvSpPr>
              <p:spPr>
                <a:xfrm flipH="1">
                  <a:off x="2113375" y="1667053"/>
                  <a:ext cx="7930337" cy="2771929"/>
                </a:xfrm>
                <a:custGeom>
                  <a:avLst/>
                  <a:gdLst>
                    <a:gd name="connsiteX0" fmla="*/ 7450236 w 7930337"/>
                    <a:gd name="connsiteY0" fmla="*/ 2545642 h 2771930"/>
                    <a:gd name="connsiteX1" fmla="*/ 7340972 w 7930337"/>
                    <a:gd name="connsiteY1" fmla="*/ 2650698 h 2771930"/>
                    <a:gd name="connsiteX2" fmla="*/ 7450236 w 7930337"/>
                    <a:gd name="connsiteY2" fmla="*/ 2761212 h 2771930"/>
                    <a:gd name="connsiteX3" fmla="*/ 114966 w 7930337"/>
                    <a:gd name="connsiteY3" fmla="*/ 1980134 h 2771930"/>
                    <a:gd name="connsiteX4" fmla="*/ 34809 w 7930337"/>
                    <a:gd name="connsiteY4" fmla="*/ 1989682 h 2771930"/>
                    <a:gd name="connsiteX5" fmla="*/ 6176 w 7930337"/>
                    <a:gd name="connsiteY5" fmla="*/ 2039942 h 2771930"/>
                    <a:gd name="connsiteX6" fmla="*/ 799 w 7930337"/>
                    <a:gd name="connsiteY6" fmla="*/ 2409916 h 2771930"/>
                    <a:gd name="connsiteX7" fmla="*/ 42566 w 7930337"/>
                    <a:gd name="connsiteY7" fmla="*/ 2464736 h 2771930"/>
                    <a:gd name="connsiteX8" fmla="*/ 114966 w 7930337"/>
                    <a:gd name="connsiteY8" fmla="*/ 2481446 h 2771930"/>
                    <a:gd name="connsiteX9" fmla="*/ 114966 w 7930337"/>
                    <a:gd name="connsiteY9" fmla="*/ 1980134 h 2771930"/>
                    <a:gd name="connsiteX10" fmla="*/ 3146585 w 7930337"/>
                    <a:gd name="connsiteY10" fmla="*/ 199094 h 2771930"/>
                    <a:gd name="connsiteX11" fmla="*/ 3146585 w 7930337"/>
                    <a:gd name="connsiteY11" fmla="*/ 394974 h 2771930"/>
                    <a:gd name="connsiteX12" fmla="*/ 3103520 w 7930337"/>
                    <a:gd name="connsiteY12" fmla="*/ 394974 h 2771930"/>
                    <a:gd name="connsiteX13" fmla="*/ 3103520 w 7930337"/>
                    <a:gd name="connsiteY13" fmla="*/ 242991 h 2771930"/>
                    <a:gd name="connsiteX14" fmla="*/ 3128214 w 7930337"/>
                    <a:gd name="connsiteY14" fmla="*/ 226342 h 2771930"/>
                    <a:gd name="connsiteX15" fmla="*/ 1121877 w 7930337"/>
                    <a:gd name="connsiteY15" fmla="*/ 198879 h 2771930"/>
                    <a:gd name="connsiteX16" fmla="*/ 1121877 w 7930337"/>
                    <a:gd name="connsiteY16" fmla="*/ 394974 h 2771930"/>
                    <a:gd name="connsiteX17" fmla="*/ 1077062 w 7930337"/>
                    <a:gd name="connsiteY17" fmla="*/ 394974 h 2771930"/>
                    <a:gd name="connsiteX18" fmla="*/ 1077062 w 7930337"/>
                    <a:gd name="connsiteY18" fmla="*/ 245372 h 2771930"/>
                    <a:gd name="connsiteX19" fmla="*/ 1101756 w 7930337"/>
                    <a:gd name="connsiteY19" fmla="*/ 228723 h 2771930"/>
                    <a:gd name="connsiteX20" fmla="*/ 2143839 w 7930337"/>
                    <a:gd name="connsiteY20" fmla="*/ 141145 h 2771930"/>
                    <a:gd name="connsiteX21" fmla="*/ 2143839 w 7930337"/>
                    <a:gd name="connsiteY21" fmla="*/ 394974 h 2771930"/>
                    <a:gd name="connsiteX22" fmla="*/ 2081558 w 7930337"/>
                    <a:gd name="connsiteY22" fmla="*/ 394974 h 2771930"/>
                    <a:gd name="connsiteX23" fmla="*/ 2081558 w 7930337"/>
                    <a:gd name="connsiteY23" fmla="*/ 245372 h 2771930"/>
                    <a:gd name="connsiteX24" fmla="*/ 2106252 w 7930337"/>
                    <a:gd name="connsiteY24" fmla="*/ 228723 h 2771930"/>
                    <a:gd name="connsiteX25" fmla="*/ 2134667 w 7930337"/>
                    <a:gd name="connsiteY25" fmla="*/ 186578 h 2771930"/>
                    <a:gd name="connsiteX26" fmla="*/ 3034460 w 7930337"/>
                    <a:gd name="connsiteY26" fmla="*/ 0 h 2771930"/>
                    <a:gd name="connsiteX27" fmla="*/ 2912292 w 7930337"/>
                    <a:gd name="connsiteY27" fmla="*/ 80979 h 2771930"/>
                    <a:gd name="connsiteX28" fmla="*/ 2904823 w 7930337"/>
                    <a:gd name="connsiteY28" fmla="*/ 117971 h 2771930"/>
                    <a:gd name="connsiteX29" fmla="*/ 2143839 w 7930337"/>
                    <a:gd name="connsiteY29" fmla="*/ 117971 h 2771930"/>
                    <a:gd name="connsiteX30" fmla="*/ 2143839 w 7930337"/>
                    <a:gd name="connsiteY30" fmla="*/ 128792 h 2771930"/>
                    <a:gd name="connsiteX31" fmla="*/ 2134667 w 7930337"/>
                    <a:gd name="connsiteY31" fmla="*/ 83360 h 2771930"/>
                    <a:gd name="connsiteX32" fmla="*/ 2012498 w 7930337"/>
                    <a:gd name="connsiteY32" fmla="*/ 2381 h 2771930"/>
                    <a:gd name="connsiteX33" fmla="*/ 1890330 w 7930337"/>
                    <a:gd name="connsiteY33" fmla="*/ 83360 h 2771930"/>
                    <a:gd name="connsiteX34" fmla="*/ 1883342 w 7930337"/>
                    <a:gd name="connsiteY34" fmla="*/ 117971 h 2771930"/>
                    <a:gd name="connsiteX35" fmla="*/ 1137158 w 7930337"/>
                    <a:gd name="connsiteY35" fmla="*/ 117971 h 2771930"/>
                    <a:gd name="connsiteX36" fmla="*/ 1130170 w 7930337"/>
                    <a:gd name="connsiteY36" fmla="*/ 83360 h 2771930"/>
                    <a:gd name="connsiteX37" fmla="*/ 1008002 w 7930337"/>
                    <a:gd name="connsiteY37" fmla="*/ 2381 h 2771930"/>
                    <a:gd name="connsiteX38" fmla="*/ 885833 w 7930337"/>
                    <a:gd name="connsiteY38" fmla="*/ 83360 h 2771930"/>
                    <a:gd name="connsiteX39" fmla="*/ 878846 w 7930337"/>
                    <a:gd name="connsiteY39" fmla="*/ 117971 h 2771930"/>
                    <a:gd name="connsiteX40" fmla="*/ 117381 w 7930337"/>
                    <a:gd name="connsiteY40" fmla="*/ 117971 h 2771930"/>
                    <a:gd name="connsiteX41" fmla="*/ 117381 w 7930337"/>
                    <a:gd name="connsiteY41" fmla="*/ 397731 h 2771930"/>
                    <a:gd name="connsiteX42" fmla="*/ 40362 w 7930337"/>
                    <a:gd name="connsiteY42" fmla="*/ 407074 h 2771930"/>
                    <a:gd name="connsiteX43" fmla="*/ 11729 w 7930337"/>
                    <a:gd name="connsiteY43" fmla="*/ 458260 h 2771930"/>
                    <a:gd name="connsiteX44" fmla="*/ 6352 w 7930337"/>
                    <a:gd name="connsiteY44" fmla="*/ 835050 h 2771930"/>
                    <a:gd name="connsiteX45" fmla="*/ 48119 w 7930337"/>
                    <a:gd name="connsiteY45" fmla="*/ 890880 h 2771930"/>
                    <a:gd name="connsiteX46" fmla="*/ 117381 w 7930337"/>
                    <a:gd name="connsiteY46" fmla="*/ 907160 h 2771930"/>
                    <a:gd name="connsiteX47" fmla="*/ 117381 w 7930337"/>
                    <a:gd name="connsiteY47" fmla="*/ 917901 h 2771930"/>
                    <a:gd name="connsiteX48" fmla="*/ 39958 w 7930337"/>
                    <a:gd name="connsiteY48" fmla="*/ 927293 h 2771930"/>
                    <a:gd name="connsiteX49" fmla="*/ 11325 w 7930337"/>
                    <a:gd name="connsiteY49" fmla="*/ 978479 h 2771930"/>
                    <a:gd name="connsiteX50" fmla="*/ 5948 w 7930337"/>
                    <a:gd name="connsiteY50" fmla="*/ 1355270 h 2771930"/>
                    <a:gd name="connsiteX51" fmla="*/ 47715 w 7930337"/>
                    <a:gd name="connsiteY51" fmla="*/ 1411100 h 2771930"/>
                    <a:gd name="connsiteX52" fmla="*/ 117381 w 7930337"/>
                    <a:gd name="connsiteY52" fmla="*/ 1427475 h 2771930"/>
                    <a:gd name="connsiteX53" fmla="*/ 117381 w 7930337"/>
                    <a:gd name="connsiteY53" fmla="*/ 1453497 h 2771930"/>
                    <a:gd name="connsiteX54" fmla="*/ 40362 w 7930337"/>
                    <a:gd name="connsiteY54" fmla="*/ 1462649 h 2771930"/>
                    <a:gd name="connsiteX55" fmla="*/ 11729 w 7930337"/>
                    <a:gd name="connsiteY55" fmla="*/ 1512790 h 2771930"/>
                    <a:gd name="connsiteX56" fmla="*/ 6352 w 7930337"/>
                    <a:gd name="connsiteY56" fmla="*/ 1881886 h 2771930"/>
                    <a:gd name="connsiteX57" fmla="*/ 48119 w 7930337"/>
                    <a:gd name="connsiteY57" fmla="*/ 1936576 h 2771930"/>
                    <a:gd name="connsiteX58" fmla="*/ 117381 w 7930337"/>
                    <a:gd name="connsiteY58" fmla="*/ 1952524 h 2771930"/>
                    <a:gd name="connsiteX59" fmla="*/ 117381 w 7930337"/>
                    <a:gd name="connsiteY59" fmla="*/ 2644730 h 2771930"/>
                    <a:gd name="connsiteX60" fmla="*/ 1075951 w 7930337"/>
                    <a:gd name="connsiteY60" fmla="*/ 2644730 h 2771930"/>
                    <a:gd name="connsiteX61" fmla="*/ 1206143 w 7930337"/>
                    <a:gd name="connsiteY61" fmla="*/ 2771930 h 2771930"/>
                    <a:gd name="connsiteX62" fmla="*/ 1206143 w 7930337"/>
                    <a:gd name="connsiteY62" fmla="*/ 2644730 h 2771930"/>
                    <a:gd name="connsiteX63" fmla="*/ 2081558 w 7930337"/>
                    <a:gd name="connsiteY63" fmla="*/ 2644730 h 2771930"/>
                    <a:gd name="connsiteX64" fmla="*/ 2081558 w 7930337"/>
                    <a:gd name="connsiteY64" fmla="*/ 2641114 h 2771930"/>
                    <a:gd name="connsiteX65" fmla="*/ 2213360 w 7930337"/>
                    <a:gd name="connsiteY65" fmla="*/ 2769886 h 2771930"/>
                    <a:gd name="connsiteX66" fmla="*/ 2213360 w 7930337"/>
                    <a:gd name="connsiteY66" fmla="*/ 2644730 h 2771930"/>
                    <a:gd name="connsiteX67" fmla="*/ 3103520 w 7930337"/>
                    <a:gd name="connsiteY67" fmla="*/ 2644730 h 2771930"/>
                    <a:gd name="connsiteX68" fmla="*/ 3103520 w 7930337"/>
                    <a:gd name="connsiteY68" fmla="*/ 2640784 h 2771930"/>
                    <a:gd name="connsiteX69" fmla="*/ 3230470 w 7930337"/>
                    <a:gd name="connsiteY69" fmla="*/ 2761212 h 2771930"/>
                    <a:gd name="connsiteX70" fmla="*/ 3230470 w 7930337"/>
                    <a:gd name="connsiteY70" fmla="*/ 2645622 h 2771930"/>
                    <a:gd name="connsiteX71" fmla="*/ 4106266 w 7930337"/>
                    <a:gd name="connsiteY71" fmla="*/ 2645622 h 2771930"/>
                    <a:gd name="connsiteX72" fmla="*/ 4106266 w 7930337"/>
                    <a:gd name="connsiteY72" fmla="*/ 243883 h 2771930"/>
                    <a:gd name="connsiteX73" fmla="*/ 4130960 w 7930337"/>
                    <a:gd name="connsiteY73" fmla="*/ 227234 h 2771930"/>
                    <a:gd name="connsiteX74" fmla="*/ 4169794 w 7930337"/>
                    <a:gd name="connsiteY74" fmla="*/ 133480 h 2771930"/>
                    <a:gd name="connsiteX75" fmla="*/ 4037206 w 7930337"/>
                    <a:gd name="connsiteY75" fmla="*/ 892 h 2771930"/>
                    <a:gd name="connsiteX76" fmla="*/ 3915038 w 7930337"/>
                    <a:gd name="connsiteY76" fmla="*/ 81871 h 2771930"/>
                    <a:gd name="connsiteX77" fmla="*/ 3907569 w 7930337"/>
                    <a:gd name="connsiteY77" fmla="*/ 118863 h 2771930"/>
                    <a:gd name="connsiteX78" fmla="*/ 3164277 w 7930337"/>
                    <a:gd name="connsiteY78" fmla="*/ 118863 h 2771930"/>
                    <a:gd name="connsiteX79" fmla="*/ 3156629 w 7930337"/>
                    <a:gd name="connsiteY79" fmla="*/ 80979 h 2771930"/>
                    <a:gd name="connsiteX80" fmla="*/ 3034460 w 7930337"/>
                    <a:gd name="connsiteY80" fmla="*/ 0 h 2771930"/>
                    <a:gd name="connsiteX81" fmla="*/ 6061013 w 7930337"/>
                    <a:gd name="connsiteY81" fmla="*/ 0 h 2771930"/>
                    <a:gd name="connsiteX82" fmla="*/ 5938844 w 7930337"/>
                    <a:gd name="connsiteY82" fmla="*/ 80979 h 2771930"/>
                    <a:gd name="connsiteX83" fmla="*/ 5929620 w 7930337"/>
                    <a:gd name="connsiteY83" fmla="*/ 126668 h 2771930"/>
                    <a:gd name="connsiteX84" fmla="*/ 5182716 w 7930337"/>
                    <a:gd name="connsiteY84" fmla="*/ 126668 h 2771930"/>
                    <a:gd name="connsiteX85" fmla="*/ 5182716 w 7930337"/>
                    <a:gd name="connsiteY85" fmla="*/ 2653427 h 2771930"/>
                    <a:gd name="connsiteX86" fmla="*/ 6125100 w 7930337"/>
                    <a:gd name="connsiteY86" fmla="*/ 2653427 h 2771930"/>
                    <a:gd name="connsiteX87" fmla="*/ 6125100 w 7930337"/>
                    <a:gd name="connsiteY87" fmla="*/ 2480264 h 2771930"/>
                    <a:gd name="connsiteX88" fmla="*/ 7618467 w 7930337"/>
                    <a:gd name="connsiteY88" fmla="*/ 2482636 h 2771930"/>
                    <a:gd name="connsiteX89" fmla="*/ 7898107 w 7930337"/>
                    <a:gd name="connsiteY89" fmla="*/ 2432708 h 2771930"/>
                    <a:gd name="connsiteX90" fmla="*/ 7888547 w 7930337"/>
                    <a:gd name="connsiteY90" fmla="*/ 1996938 h 2771930"/>
                    <a:gd name="connsiteX91" fmla="*/ 7628026 w 7930337"/>
                    <a:gd name="connsiteY91" fmla="*/ 1982515 h 2771930"/>
                    <a:gd name="connsiteX92" fmla="*/ 6125100 w 7930337"/>
                    <a:gd name="connsiteY92" fmla="*/ 1980142 h 2771930"/>
                    <a:gd name="connsiteX93" fmla="*/ 6125100 w 7930337"/>
                    <a:gd name="connsiteY93" fmla="*/ 1953254 h 2771930"/>
                    <a:gd name="connsiteX94" fmla="*/ 7618466 w 7930337"/>
                    <a:gd name="connsiteY94" fmla="*/ 1955626 h 2771930"/>
                    <a:gd name="connsiteX95" fmla="*/ 7898106 w 7930337"/>
                    <a:gd name="connsiteY95" fmla="*/ 1905698 h 2771930"/>
                    <a:gd name="connsiteX96" fmla="*/ 7888545 w 7930337"/>
                    <a:gd name="connsiteY96" fmla="*/ 1469928 h 2771930"/>
                    <a:gd name="connsiteX97" fmla="*/ 7628025 w 7930337"/>
                    <a:gd name="connsiteY97" fmla="*/ 1455505 h 2771930"/>
                    <a:gd name="connsiteX98" fmla="*/ 6125100 w 7930337"/>
                    <a:gd name="connsiteY98" fmla="*/ 1453132 h 2771930"/>
                    <a:gd name="connsiteX99" fmla="*/ 6125100 w 7930337"/>
                    <a:gd name="connsiteY99" fmla="*/ 1417692 h 2771930"/>
                    <a:gd name="connsiteX100" fmla="*/ 7623226 w 7930337"/>
                    <a:gd name="connsiteY100" fmla="*/ 1420071 h 2771930"/>
                    <a:gd name="connsiteX101" fmla="*/ 7902867 w 7930337"/>
                    <a:gd name="connsiteY101" fmla="*/ 1370143 h 2771930"/>
                    <a:gd name="connsiteX102" fmla="*/ 7893306 w 7930337"/>
                    <a:gd name="connsiteY102" fmla="*/ 934373 h 2771930"/>
                    <a:gd name="connsiteX103" fmla="*/ 7632786 w 7930337"/>
                    <a:gd name="connsiteY103" fmla="*/ 919950 h 2771930"/>
                    <a:gd name="connsiteX104" fmla="*/ 6125100 w 7930337"/>
                    <a:gd name="connsiteY104" fmla="*/ 917570 h 2771930"/>
                    <a:gd name="connsiteX105" fmla="*/ 6125100 w 7930337"/>
                    <a:gd name="connsiteY105" fmla="*/ 895097 h 2771930"/>
                    <a:gd name="connsiteX106" fmla="*/ 7620843 w 7930337"/>
                    <a:gd name="connsiteY106" fmla="*/ 897473 h 2771930"/>
                    <a:gd name="connsiteX107" fmla="*/ 7900484 w 7930337"/>
                    <a:gd name="connsiteY107" fmla="*/ 847545 h 2771930"/>
                    <a:gd name="connsiteX108" fmla="*/ 7890924 w 7930337"/>
                    <a:gd name="connsiteY108" fmla="*/ 411775 h 2771930"/>
                    <a:gd name="connsiteX109" fmla="*/ 7630403 w 7930337"/>
                    <a:gd name="connsiteY109" fmla="*/ 397352 h 2771930"/>
                    <a:gd name="connsiteX110" fmla="*/ 6125100 w 7930337"/>
                    <a:gd name="connsiteY110" fmla="*/ 394975 h 2771930"/>
                    <a:gd name="connsiteX111" fmla="*/ 6125100 w 7930337"/>
                    <a:gd name="connsiteY111" fmla="*/ 246344 h 2771930"/>
                    <a:gd name="connsiteX112" fmla="*/ 6154766 w 7930337"/>
                    <a:gd name="connsiteY112" fmla="*/ 226342 h 2771930"/>
                    <a:gd name="connsiteX113" fmla="*/ 6193600 w 7930337"/>
                    <a:gd name="connsiteY113" fmla="*/ 132588 h 2771930"/>
                    <a:gd name="connsiteX114" fmla="*/ 6061013 w 7930337"/>
                    <a:gd name="connsiteY114" fmla="*/ 0 h 277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930337" h="2771930">
                      <a:moveTo>
                        <a:pt x="7450236" y="2545642"/>
                      </a:moveTo>
                      <a:lnTo>
                        <a:pt x="7340972" y="2650698"/>
                      </a:lnTo>
                      <a:lnTo>
                        <a:pt x="7450236" y="2761212"/>
                      </a:lnTo>
                      <a:close/>
                      <a:moveTo>
                        <a:pt x="114966" y="1980134"/>
                      </a:moveTo>
                      <a:lnTo>
                        <a:pt x="34809" y="1989682"/>
                      </a:lnTo>
                      <a:cubicBezTo>
                        <a:pt x="14681" y="1998854"/>
                        <a:pt x="16049" y="2007709"/>
                        <a:pt x="6176" y="2039942"/>
                      </a:cubicBezTo>
                      <a:cubicBezTo>
                        <a:pt x="3695" y="2096455"/>
                        <a:pt x="-2117" y="2330763"/>
                        <a:pt x="799" y="2409916"/>
                      </a:cubicBezTo>
                      <a:cubicBezTo>
                        <a:pt x="34671" y="2477135"/>
                        <a:pt x="24561" y="2447643"/>
                        <a:pt x="42566" y="2464736"/>
                      </a:cubicBezTo>
                      <a:lnTo>
                        <a:pt x="114966" y="2481446"/>
                      </a:lnTo>
                      <a:cubicBezTo>
                        <a:pt x="115069" y="2315137"/>
                        <a:pt x="114864" y="2146443"/>
                        <a:pt x="114966" y="1980134"/>
                      </a:cubicBezTo>
                      <a:close/>
                      <a:moveTo>
                        <a:pt x="3146585" y="199094"/>
                      </a:moveTo>
                      <a:lnTo>
                        <a:pt x="3146585" y="394974"/>
                      </a:lnTo>
                      <a:lnTo>
                        <a:pt x="3103520" y="394974"/>
                      </a:lnTo>
                      <a:lnTo>
                        <a:pt x="3103520" y="242991"/>
                      </a:lnTo>
                      <a:lnTo>
                        <a:pt x="3128214" y="226342"/>
                      </a:lnTo>
                      <a:close/>
                      <a:moveTo>
                        <a:pt x="1121877" y="198879"/>
                      </a:moveTo>
                      <a:lnTo>
                        <a:pt x="1121877" y="394974"/>
                      </a:lnTo>
                      <a:lnTo>
                        <a:pt x="1077062" y="394974"/>
                      </a:lnTo>
                      <a:lnTo>
                        <a:pt x="1077062" y="245372"/>
                      </a:lnTo>
                      <a:lnTo>
                        <a:pt x="1101756" y="228723"/>
                      </a:lnTo>
                      <a:close/>
                      <a:moveTo>
                        <a:pt x="2143839" y="141145"/>
                      </a:moveTo>
                      <a:lnTo>
                        <a:pt x="2143839" y="394974"/>
                      </a:lnTo>
                      <a:lnTo>
                        <a:pt x="2081558" y="394974"/>
                      </a:lnTo>
                      <a:lnTo>
                        <a:pt x="2081558" y="245372"/>
                      </a:lnTo>
                      <a:lnTo>
                        <a:pt x="2106252" y="228723"/>
                      </a:lnTo>
                      <a:cubicBezTo>
                        <a:pt x="2118249" y="216726"/>
                        <a:pt x="2127957" y="202441"/>
                        <a:pt x="2134667" y="186578"/>
                      </a:cubicBezTo>
                      <a:close/>
                      <a:moveTo>
                        <a:pt x="3034460" y="0"/>
                      </a:moveTo>
                      <a:cubicBezTo>
                        <a:pt x="2979541" y="0"/>
                        <a:pt x="2932420" y="33391"/>
                        <a:pt x="2912292" y="80979"/>
                      </a:cubicBezTo>
                      <a:lnTo>
                        <a:pt x="2904823" y="117971"/>
                      </a:lnTo>
                      <a:lnTo>
                        <a:pt x="2143839" y="117971"/>
                      </a:lnTo>
                      <a:lnTo>
                        <a:pt x="2143839" y="128792"/>
                      </a:lnTo>
                      <a:lnTo>
                        <a:pt x="2134667" y="83360"/>
                      </a:lnTo>
                      <a:cubicBezTo>
                        <a:pt x="2114539" y="35772"/>
                        <a:pt x="2067418" y="2381"/>
                        <a:pt x="2012498" y="2381"/>
                      </a:cubicBezTo>
                      <a:cubicBezTo>
                        <a:pt x="1957579" y="2381"/>
                        <a:pt x="1910458" y="35772"/>
                        <a:pt x="1890330" y="83360"/>
                      </a:cubicBezTo>
                      <a:lnTo>
                        <a:pt x="1883342" y="117971"/>
                      </a:lnTo>
                      <a:lnTo>
                        <a:pt x="1137158" y="117971"/>
                      </a:lnTo>
                      <a:lnTo>
                        <a:pt x="1130170" y="83360"/>
                      </a:lnTo>
                      <a:cubicBezTo>
                        <a:pt x="1110042" y="35772"/>
                        <a:pt x="1062921" y="2381"/>
                        <a:pt x="1008002" y="2381"/>
                      </a:cubicBezTo>
                      <a:cubicBezTo>
                        <a:pt x="953083" y="2381"/>
                        <a:pt x="905962" y="35772"/>
                        <a:pt x="885833" y="83360"/>
                      </a:cubicBezTo>
                      <a:lnTo>
                        <a:pt x="878846" y="117971"/>
                      </a:lnTo>
                      <a:lnTo>
                        <a:pt x="117381" y="117971"/>
                      </a:lnTo>
                      <a:lnTo>
                        <a:pt x="117381" y="397731"/>
                      </a:lnTo>
                      <a:lnTo>
                        <a:pt x="40362" y="407074"/>
                      </a:lnTo>
                      <a:cubicBezTo>
                        <a:pt x="20234" y="416414"/>
                        <a:pt x="21602" y="425432"/>
                        <a:pt x="11729" y="458260"/>
                      </a:cubicBezTo>
                      <a:cubicBezTo>
                        <a:pt x="9248" y="515814"/>
                        <a:pt x="3436" y="754439"/>
                        <a:pt x="6352" y="835050"/>
                      </a:cubicBezTo>
                      <a:cubicBezTo>
                        <a:pt x="40224" y="903506"/>
                        <a:pt x="30114" y="873471"/>
                        <a:pt x="48119" y="890880"/>
                      </a:cubicBezTo>
                      <a:lnTo>
                        <a:pt x="117381" y="907160"/>
                      </a:lnTo>
                      <a:lnTo>
                        <a:pt x="117381" y="917901"/>
                      </a:lnTo>
                      <a:lnTo>
                        <a:pt x="39958" y="927293"/>
                      </a:lnTo>
                      <a:cubicBezTo>
                        <a:pt x="19830" y="936633"/>
                        <a:pt x="21198" y="945652"/>
                        <a:pt x="11325" y="978479"/>
                      </a:cubicBezTo>
                      <a:cubicBezTo>
                        <a:pt x="8844" y="1036033"/>
                        <a:pt x="3032" y="1274658"/>
                        <a:pt x="5948" y="1355270"/>
                      </a:cubicBezTo>
                      <a:cubicBezTo>
                        <a:pt x="39820" y="1423726"/>
                        <a:pt x="29710" y="1393691"/>
                        <a:pt x="47715" y="1411100"/>
                      </a:cubicBezTo>
                      <a:lnTo>
                        <a:pt x="117381" y="1427475"/>
                      </a:lnTo>
                      <a:lnTo>
                        <a:pt x="117381" y="1453497"/>
                      </a:lnTo>
                      <a:lnTo>
                        <a:pt x="40362" y="1462649"/>
                      </a:lnTo>
                      <a:cubicBezTo>
                        <a:pt x="20234" y="1471799"/>
                        <a:pt x="21602" y="1480633"/>
                        <a:pt x="11729" y="1512790"/>
                      </a:cubicBezTo>
                      <a:cubicBezTo>
                        <a:pt x="9248" y="1569169"/>
                        <a:pt x="3436" y="1802921"/>
                        <a:pt x="6352" y="1881886"/>
                      </a:cubicBezTo>
                      <a:cubicBezTo>
                        <a:pt x="40224" y="1948945"/>
                        <a:pt x="30114" y="1919523"/>
                        <a:pt x="48119" y="1936576"/>
                      </a:cubicBezTo>
                      <a:lnTo>
                        <a:pt x="117381" y="1952524"/>
                      </a:lnTo>
                      <a:lnTo>
                        <a:pt x="117381" y="2644730"/>
                      </a:lnTo>
                      <a:lnTo>
                        <a:pt x="1075951" y="2644730"/>
                      </a:lnTo>
                      <a:lnTo>
                        <a:pt x="1206143" y="2771930"/>
                      </a:lnTo>
                      <a:lnTo>
                        <a:pt x="1206143" y="2644730"/>
                      </a:lnTo>
                      <a:lnTo>
                        <a:pt x="2081558" y="2644730"/>
                      </a:lnTo>
                      <a:lnTo>
                        <a:pt x="2081558" y="2641114"/>
                      </a:lnTo>
                      <a:lnTo>
                        <a:pt x="2213360" y="2769886"/>
                      </a:lnTo>
                      <a:lnTo>
                        <a:pt x="2213360" y="2644730"/>
                      </a:lnTo>
                      <a:lnTo>
                        <a:pt x="3103520" y="2644730"/>
                      </a:lnTo>
                      <a:lnTo>
                        <a:pt x="3103520" y="2640784"/>
                      </a:lnTo>
                      <a:lnTo>
                        <a:pt x="3230470" y="2761212"/>
                      </a:lnTo>
                      <a:lnTo>
                        <a:pt x="3230470" y="2645622"/>
                      </a:lnTo>
                      <a:lnTo>
                        <a:pt x="4106266" y="2645622"/>
                      </a:lnTo>
                      <a:lnTo>
                        <a:pt x="4106266" y="243883"/>
                      </a:lnTo>
                      <a:lnTo>
                        <a:pt x="4130960" y="227234"/>
                      </a:lnTo>
                      <a:cubicBezTo>
                        <a:pt x="4154954" y="203240"/>
                        <a:pt x="4169794" y="170093"/>
                        <a:pt x="4169794" y="133480"/>
                      </a:cubicBezTo>
                      <a:cubicBezTo>
                        <a:pt x="4169794" y="60254"/>
                        <a:pt x="4110432" y="892"/>
                        <a:pt x="4037206" y="892"/>
                      </a:cubicBezTo>
                      <a:cubicBezTo>
                        <a:pt x="3982287" y="892"/>
                        <a:pt x="3935166" y="34283"/>
                        <a:pt x="3915038" y="81871"/>
                      </a:cubicBezTo>
                      <a:lnTo>
                        <a:pt x="3907569" y="118863"/>
                      </a:lnTo>
                      <a:lnTo>
                        <a:pt x="3164277" y="118863"/>
                      </a:lnTo>
                      <a:lnTo>
                        <a:pt x="3156629" y="80979"/>
                      </a:lnTo>
                      <a:cubicBezTo>
                        <a:pt x="3136501" y="33391"/>
                        <a:pt x="3089380" y="0"/>
                        <a:pt x="3034460" y="0"/>
                      </a:cubicBezTo>
                      <a:close/>
                      <a:moveTo>
                        <a:pt x="6061013" y="0"/>
                      </a:moveTo>
                      <a:cubicBezTo>
                        <a:pt x="6006093" y="0"/>
                        <a:pt x="5958973" y="33391"/>
                        <a:pt x="5938844" y="80979"/>
                      </a:cubicBezTo>
                      <a:lnTo>
                        <a:pt x="5929620" y="126668"/>
                      </a:lnTo>
                      <a:lnTo>
                        <a:pt x="5182716" y="126668"/>
                      </a:lnTo>
                      <a:lnTo>
                        <a:pt x="5182716" y="2653427"/>
                      </a:lnTo>
                      <a:lnTo>
                        <a:pt x="6125100" y="2653427"/>
                      </a:lnTo>
                      <a:lnTo>
                        <a:pt x="6125100" y="2480264"/>
                      </a:lnTo>
                      <a:lnTo>
                        <a:pt x="7618467" y="2482636"/>
                      </a:lnTo>
                      <a:cubicBezTo>
                        <a:pt x="7898881" y="2465583"/>
                        <a:pt x="7852695" y="2511673"/>
                        <a:pt x="7898107" y="2432708"/>
                      </a:cubicBezTo>
                      <a:cubicBezTo>
                        <a:pt x="7943519" y="2353743"/>
                        <a:pt x="7927187" y="2053317"/>
                        <a:pt x="7888547" y="1996938"/>
                      </a:cubicBezTo>
                      <a:cubicBezTo>
                        <a:pt x="7734782" y="1964781"/>
                        <a:pt x="7941504" y="1991665"/>
                        <a:pt x="7628026" y="1982515"/>
                      </a:cubicBezTo>
                      <a:lnTo>
                        <a:pt x="6125100" y="1980142"/>
                      </a:lnTo>
                      <a:lnTo>
                        <a:pt x="6125100" y="1953254"/>
                      </a:lnTo>
                      <a:lnTo>
                        <a:pt x="7618466" y="1955626"/>
                      </a:lnTo>
                      <a:cubicBezTo>
                        <a:pt x="7898880" y="1938573"/>
                        <a:pt x="7852694" y="1984663"/>
                        <a:pt x="7898106" y="1905698"/>
                      </a:cubicBezTo>
                      <a:cubicBezTo>
                        <a:pt x="7943518" y="1826733"/>
                        <a:pt x="7927185" y="1526307"/>
                        <a:pt x="7888545" y="1469928"/>
                      </a:cubicBezTo>
                      <a:cubicBezTo>
                        <a:pt x="7734781" y="1437771"/>
                        <a:pt x="7941503" y="1464655"/>
                        <a:pt x="7628025" y="1455505"/>
                      </a:cubicBezTo>
                      <a:lnTo>
                        <a:pt x="6125100" y="1453132"/>
                      </a:lnTo>
                      <a:lnTo>
                        <a:pt x="6125100" y="1417692"/>
                      </a:lnTo>
                      <a:lnTo>
                        <a:pt x="7623226" y="1420071"/>
                      </a:lnTo>
                      <a:cubicBezTo>
                        <a:pt x="7903641" y="1403018"/>
                        <a:pt x="7857455" y="1449108"/>
                        <a:pt x="7902867" y="1370143"/>
                      </a:cubicBezTo>
                      <a:cubicBezTo>
                        <a:pt x="7948279" y="1291178"/>
                        <a:pt x="7931947" y="990752"/>
                        <a:pt x="7893306" y="934373"/>
                      </a:cubicBezTo>
                      <a:cubicBezTo>
                        <a:pt x="7739542" y="902216"/>
                        <a:pt x="7946263" y="929100"/>
                        <a:pt x="7632786" y="919950"/>
                      </a:cubicBezTo>
                      <a:lnTo>
                        <a:pt x="6125100" y="917570"/>
                      </a:lnTo>
                      <a:lnTo>
                        <a:pt x="6125100" y="895097"/>
                      </a:lnTo>
                      <a:lnTo>
                        <a:pt x="7620843" y="897473"/>
                      </a:lnTo>
                      <a:cubicBezTo>
                        <a:pt x="7901257" y="880420"/>
                        <a:pt x="7855072" y="926510"/>
                        <a:pt x="7900484" y="847545"/>
                      </a:cubicBezTo>
                      <a:cubicBezTo>
                        <a:pt x="7945896" y="768580"/>
                        <a:pt x="7929564" y="468154"/>
                        <a:pt x="7890924" y="411775"/>
                      </a:cubicBezTo>
                      <a:cubicBezTo>
                        <a:pt x="7737159" y="379618"/>
                        <a:pt x="7943881" y="406502"/>
                        <a:pt x="7630403" y="397352"/>
                      </a:cubicBezTo>
                      <a:lnTo>
                        <a:pt x="6125100" y="394975"/>
                      </a:lnTo>
                      <a:lnTo>
                        <a:pt x="6125100" y="246344"/>
                      </a:lnTo>
                      <a:lnTo>
                        <a:pt x="6154766" y="226342"/>
                      </a:lnTo>
                      <a:cubicBezTo>
                        <a:pt x="6178761" y="202348"/>
                        <a:pt x="6193600" y="169201"/>
                        <a:pt x="6193600" y="132588"/>
                      </a:cubicBezTo>
                      <a:cubicBezTo>
                        <a:pt x="6193600" y="59362"/>
                        <a:pt x="6134238" y="0"/>
                        <a:pt x="6061013" y="0"/>
                      </a:cubicBezTo>
                      <a:close/>
                    </a:path>
                  </a:pathLst>
                </a:cu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86" name="Isosceles Triangle 85">
                  <a:extLst>
                    <a:ext uri="{FF2B5EF4-FFF2-40B4-BE49-F238E27FC236}">
                      <a16:creationId xmlns:a16="http://schemas.microsoft.com/office/drawing/2014/main" id="{64572CDE-C8E9-40D6-A905-22193A1CFBE0}"/>
                    </a:ext>
                  </a:extLst>
                </p:cNvPr>
                <p:cNvSpPr/>
                <p:nvPr/>
              </p:nvSpPr>
              <p:spPr>
                <a:xfrm rot="5400000">
                  <a:off x="5678873" y="4038506"/>
                  <a:ext cx="535106" cy="265177"/>
                </a:xfrm>
                <a:prstGeom prst="triangle">
                  <a:avLst>
                    <a:gd name="adj" fmla="val 48734"/>
                  </a:avLst>
                </a:prstGeom>
                <a:solidFill>
                  <a:srgbClr val="D258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87" name="Rectangle 86">
                  <a:extLst>
                    <a:ext uri="{FF2B5EF4-FFF2-40B4-BE49-F238E27FC236}">
                      <a16:creationId xmlns:a16="http://schemas.microsoft.com/office/drawing/2014/main" id="{E8EFF663-5C93-4CF5-8F45-494A67FBF3BA}"/>
                    </a:ext>
                  </a:extLst>
                </p:cNvPr>
                <p:cNvSpPr/>
                <p:nvPr/>
              </p:nvSpPr>
              <p:spPr>
                <a:xfrm>
                  <a:off x="2749850" y="4204107"/>
                  <a:ext cx="927701" cy="298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79" name="Oval 78">
                <a:extLst>
                  <a:ext uri="{FF2B5EF4-FFF2-40B4-BE49-F238E27FC236}">
                    <a16:creationId xmlns:a16="http://schemas.microsoft.com/office/drawing/2014/main" id="{3A14FCEB-B934-40E9-9A0C-A6DDC1A880BB}"/>
                  </a:ext>
                </a:extLst>
              </p:cNvPr>
              <p:cNvSpPr/>
              <p:nvPr/>
            </p:nvSpPr>
            <p:spPr>
              <a:xfrm>
                <a:off x="3850452" y="1666642"/>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80" name="Oval 79">
                <a:extLst>
                  <a:ext uri="{FF2B5EF4-FFF2-40B4-BE49-F238E27FC236}">
                    <a16:creationId xmlns:a16="http://schemas.microsoft.com/office/drawing/2014/main" id="{3C34CC03-A24E-4003-A1A8-32FF59976E8C}"/>
                  </a:ext>
                </a:extLst>
              </p:cNvPr>
              <p:cNvSpPr/>
              <p:nvPr/>
            </p:nvSpPr>
            <p:spPr>
              <a:xfrm>
                <a:off x="5869276" y="1664819"/>
                <a:ext cx="274368" cy="275105"/>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81" name="Oval 80">
                <a:extLst>
                  <a:ext uri="{FF2B5EF4-FFF2-40B4-BE49-F238E27FC236}">
                    <a16:creationId xmlns:a16="http://schemas.microsoft.com/office/drawing/2014/main" id="{8BE0901B-836A-4712-AB59-B0EB351A8D96}"/>
                  </a:ext>
                </a:extLst>
              </p:cNvPr>
              <p:cNvSpPr/>
              <p:nvPr/>
            </p:nvSpPr>
            <p:spPr>
              <a:xfrm>
                <a:off x="6875065" y="1663726"/>
                <a:ext cx="265176" cy="263588"/>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82" name="Oval 81">
                <a:extLst>
                  <a:ext uri="{FF2B5EF4-FFF2-40B4-BE49-F238E27FC236}">
                    <a16:creationId xmlns:a16="http://schemas.microsoft.com/office/drawing/2014/main" id="{45AD8093-FD3D-4F34-993F-3080FBA813CF}"/>
                  </a:ext>
                </a:extLst>
              </p:cNvPr>
              <p:cNvSpPr/>
              <p:nvPr/>
            </p:nvSpPr>
            <p:spPr>
              <a:xfrm>
                <a:off x="7895527" y="1653313"/>
                <a:ext cx="274368" cy="279551"/>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83" name="Oval 82">
                <a:extLst>
                  <a:ext uri="{FF2B5EF4-FFF2-40B4-BE49-F238E27FC236}">
                    <a16:creationId xmlns:a16="http://schemas.microsoft.com/office/drawing/2014/main" id="{BE4FCAD0-D319-4FFF-9116-673632A040A8}"/>
                  </a:ext>
                </a:extLst>
              </p:cNvPr>
              <p:cNvSpPr/>
              <p:nvPr/>
            </p:nvSpPr>
            <p:spPr>
              <a:xfrm>
                <a:off x="8899685" y="1655078"/>
                <a:ext cx="274368" cy="28131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88" name="TextBox 87">
              <a:extLst>
                <a:ext uri="{FF2B5EF4-FFF2-40B4-BE49-F238E27FC236}">
                  <a16:creationId xmlns:a16="http://schemas.microsoft.com/office/drawing/2014/main" id="{5C073BAF-7413-474D-83D9-1063747874F6}"/>
                </a:ext>
              </a:extLst>
            </p:cNvPr>
            <p:cNvSpPr txBox="1"/>
            <p:nvPr/>
          </p:nvSpPr>
          <p:spPr>
            <a:xfrm>
              <a:off x="5656981" y="3105628"/>
              <a:ext cx="1148265" cy="2082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1" u="none" strike="noStrike" kern="0" cap="none" spc="0" normalizeH="0" baseline="0" noProof="0">
                  <a:ln>
                    <a:noFill/>
                  </a:ln>
                  <a:solidFill>
                    <a:srgbClr val="EEEEEE">
                      <a:lumMod val="50000"/>
                      <a:alpha val="72000"/>
                    </a:srgbClr>
                  </a:solidFill>
                  <a:effectLst/>
                  <a:uLnTx/>
                  <a:uFillTx/>
                  <a:latin typeface="Arial"/>
                  <a:cs typeface="Arial"/>
                  <a:sym typeface="Arial"/>
                </a:rPr>
                <a:t>= Progress Review</a:t>
              </a:r>
            </a:p>
          </p:txBody>
        </p:sp>
      </p:grpSp>
      <p:sp>
        <p:nvSpPr>
          <p:cNvPr id="90" name="Content Placeholder 2">
            <a:extLst>
              <a:ext uri="{FF2B5EF4-FFF2-40B4-BE49-F238E27FC236}">
                <a16:creationId xmlns:a16="http://schemas.microsoft.com/office/drawing/2014/main" id="{7AC5226E-770F-4AFF-B4F1-E244D19C234E}"/>
              </a:ext>
            </a:extLst>
          </p:cNvPr>
          <p:cNvSpPr txBox="1">
            <a:spLocks/>
          </p:cNvSpPr>
          <p:nvPr/>
        </p:nvSpPr>
        <p:spPr>
          <a:xfrm>
            <a:off x="491273" y="3714419"/>
            <a:ext cx="1880880"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Inputs</a:t>
            </a:r>
            <a:endParaRPr kumimoji="0" lang="en-US" sz="11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1" name="Content Placeholder 2">
            <a:extLst>
              <a:ext uri="{FF2B5EF4-FFF2-40B4-BE49-F238E27FC236}">
                <a16:creationId xmlns:a16="http://schemas.microsoft.com/office/drawing/2014/main" id="{8701127D-AB4B-4D18-9498-004BF3A4DCE3}"/>
              </a:ext>
            </a:extLst>
          </p:cNvPr>
          <p:cNvSpPr txBox="1">
            <a:spLocks/>
          </p:cNvSpPr>
          <p:nvPr/>
        </p:nvSpPr>
        <p:spPr>
          <a:xfrm>
            <a:off x="3681212" y="3714419"/>
            <a:ext cx="1743867"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Outputs</a:t>
            </a:r>
            <a:endParaRPr kumimoji="0" lang="en-US" sz="14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3" name="Content Placeholder 2">
            <a:extLst>
              <a:ext uri="{FF2B5EF4-FFF2-40B4-BE49-F238E27FC236}">
                <a16:creationId xmlns:a16="http://schemas.microsoft.com/office/drawing/2014/main" id="{0D971187-1953-40B9-8403-AA6F222A6971}"/>
              </a:ext>
            </a:extLst>
          </p:cNvPr>
          <p:cNvSpPr txBox="1">
            <a:spLocks/>
          </p:cNvSpPr>
          <p:nvPr/>
        </p:nvSpPr>
        <p:spPr>
          <a:xfrm>
            <a:off x="483528" y="5153054"/>
            <a:ext cx="2254582"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Stakeholders</a:t>
            </a:r>
            <a:endParaRPr kumimoji="0" lang="en-US" sz="12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7" name="TextBox 96">
            <a:extLst>
              <a:ext uri="{FF2B5EF4-FFF2-40B4-BE49-F238E27FC236}">
                <a16:creationId xmlns:a16="http://schemas.microsoft.com/office/drawing/2014/main" id="{70D4E513-E72B-4329-8758-B8AB873277CB}"/>
              </a:ext>
            </a:extLst>
          </p:cNvPr>
          <p:cNvSpPr txBox="1"/>
          <p:nvPr/>
        </p:nvSpPr>
        <p:spPr>
          <a:xfrm>
            <a:off x="7266248" y="6470392"/>
            <a:ext cx="4724400" cy="261610"/>
          </a:xfrm>
          <a:prstGeom prst="rect">
            <a:avLst/>
          </a:prstGeom>
          <a:noFill/>
        </p:spPr>
        <p:txBody>
          <a:bodyPr wrap="square" rtlCol="0">
            <a:spAutoFit/>
          </a:bodyPr>
          <a:lstStyle/>
          <a:p>
            <a:pPr algn="ctr"/>
            <a:r>
              <a:rPr lang="en-US" sz="1100" i="1" dirty="0">
                <a:solidFill>
                  <a:schemeClr val="bg1"/>
                </a:solidFill>
              </a:rPr>
              <a:t>- Last published June 2022 -</a:t>
            </a:r>
          </a:p>
        </p:txBody>
      </p:sp>
      <p:sp>
        <p:nvSpPr>
          <p:cNvPr id="8" name="TextBox 7">
            <a:extLst>
              <a:ext uri="{FF2B5EF4-FFF2-40B4-BE49-F238E27FC236}">
                <a16:creationId xmlns:a16="http://schemas.microsoft.com/office/drawing/2014/main" id="{DFABE156-CA15-4BE7-9BA3-655263D1F0C3}"/>
              </a:ext>
            </a:extLst>
          </p:cNvPr>
          <p:cNvSpPr txBox="1"/>
          <p:nvPr/>
        </p:nvSpPr>
        <p:spPr>
          <a:xfrm>
            <a:off x="8228650" y="1224812"/>
            <a:ext cx="3679822"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Conduct Business Readiness Assessment to identify gaps between agency’s existing solution and target end state </a:t>
            </a:r>
          </a:p>
        </p:txBody>
      </p:sp>
      <p:sp>
        <p:nvSpPr>
          <p:cNvPr id="68" name="TextBox 67">
            <a:extLst>
              <a:ext uri="{FF2B5EF4-FFF2-40B4-BE49-F238E27FC236}">
                <a16:creationId xmlns:a16="http://schemas.microsoft.com/office/drawing/2014/main" id="{932EB8A8-5F7E-4BB2-814B-FB168ED70499}"/>
              </a:ext>
            </a:extLst>
          </p:cNvPr>
          <p:cNvSpPr txBox="1"/>
          <p:nvPr/>
        </p:nvSpPr>
        <p:spPr>
          <a:xfrm>
            <a:off x="8228651" y="1912661"/>
            <a:ext cx="3679821"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Establish customer PMO structure, staff, and processes to manage program activities</a:t>
            </a:r>
          </a:p>
        </p:txBody>
      </p:sp>
      <p:sp>
        <p:nvSpPr>
          <p:cNvPr id="63" name="TextBox 62">
            <a:extLst>
              <a:ext uri="{FF2B5EF4-FFF2-40B4-BE49-F238E27FC236}">
                <a16:creationId xmlns:a16="http://schemas.microsoft.com/office/drawing/2014/main" id="{C8CE3DFE-7EAB-4195-B73C-BE77486091BC}"/>
              </a:ext>
            </a:extLst>
          </p:cNvPr>
          <p:cNvSpPr txBox="1"/>
          <p:nvPr/>
        </p:nvSpPr>
        <p:spPr>
          <a:xfrm>
            <a:off x="8228651" y="2415844"/>
            <a:ext cx="3679821"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Develop governance structure that establishes program activity ownership and decision-making authority </a:t>
            </a:r>
          </a:p>
        </p:txBody>
      </p:sp>
      <p:sp>
        <p:nvSpPr>
          <p:cNvPr id="64" name="TextBox 63">
            <a:extLst>
              <a:ext uri="{FF2B5EF4-FFF2-40B4-BE49-F238E27FC236}">
                <a16:creationId xmlns:a16="http://schemas.microsoft.com/office/drawing/2014/main" id="{5EFB9CDD-8C45-4BDF-81A9-E012E22C0BBC}"/>
              </a:ext>
            </a:extLst>
          </p:cNvPr>
          <p:cNvSpPr txBox="1"/>
          <p:nvPr/>
        </p:nvSpPr>
        <p:spPr>
          <a:xfrm>
            <a:off x="8231519" y="3144141"/>
            <a:ext cx="3674084" cy="276999"/>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Establish risk management plans and processes</a:t>
            </a:r>
          </a:p>
        </p:txBody>
      </p:sp>
      <p:sp>
        <p:nvSpPr>
          <p:cNvPr id="65" name="TextBox 64">
            <a:extLst>
              <a:ext uri="{FF2B5EF4-FFF2-40B4-BE49-F238E27FC236}">
                <a16:creationId xmlns:a16="http://schemas.microsoft.com/office/drawing/2014/main" id="{1B38815F-D2DF-43DF-A6C9-7C26D46F479C}"/>
              </a:ext>
            </a:extLst>
          </p:cNvPr>
          <p:cNvSpPr txBox="1"/>
          <p:nvPr/>
        </p:nvSpPr>
        <p:spPr>
          <a:xfrm>
            <a:off x="8231519" y="3503106"/>
            <a:ext cx="3674084"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Set performance and success metrics including compliance, process, and workload measures to define baselines and target metrics</a:t>
            </a:r>
          </a:p>
        </p:txBody>
      </p:sp>
      <p:sp>
        <p:nvSpPr>
          <p:cNvPr id="66" name="TextBox 65">
            <a:extLst>
              <a:ext uri="{FF2B5EF4-FFF2-40B4-BE49-F238E27FC236}">
                <a16:creationId xmlns:a16="http://schemas.microsoft.com/office/drawing/2014/main" id="{57B3F085-C13D-4AD5-9D72-AC7D4DA7FB32}"/>
              </a:ext>
            </a:extLst>
          </p:cNvPr>
          <p:cNvSpPr txBox="1"/>
          <p:nvPr/>
        </p:nvSpPr>
        <p:spPr>
          <a:xfrm>
            <a:off x="8231520" y="4190955"/>
            <a:ext cx="3674083"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Conduct thorough stakeholder analysis and develop a detailed Communications Plan</a:t>
            </a:r>
          </a:p>
        </p:txBody>
      </p:sp>
      <p:sp>
        <p:nvSpPr>
          <p:cNvPr id="70" name="TextBox 69">
            <a:extLst>
              <a:ext uri="{FF2B5EF4-FFF2-40B4-BE49-F238E27FC236}">
                <a16:creationId xmlns:a16="http://schemas.microsoft.com/office/drawing/2014/main" id="{4B0B4A43-7F8D-4D4F-97DD-E6A7618A4B8A}"/>
              </a:ext>
            </a:extLst>
          </p:cNvPr>
          <p:cNvSpPr txBox="1"/>
          <p:nvPr/>
        </p:nvSpPr>
        <p:spPr>
          <a:xfrm>
            <a:off x="8225782" y="4694138"/>
            <a:ext cx="3685558"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Document business capabilities, mission critical, and unique capabilities of the customer organization to support the Business Readiness Assessment</a:t>
            </a:r>
          </a:p>
        </p:txBody>
      </p:sp>
      <p:grpSp>
        <p:nvGrpSpPr>
          <p:cNvPr id="17" name="Group 16">
            <a:extLst>
              <a:ext uri="{FF2B5EF4-FFF2-40B4-BE49-F238E27FC236}">
                <a16:creationId xmlns:a16="http://schemas.microsoft.com/office/drawing/2014/main" id="{08CEC7B0-128E-487C-85F7-9175F2A027DF}"/>
              </a:ext>
            </a:extLst>
          </p:cNvPr>
          <p:cNvGrpSpPr/>
          <p:nvPr/>
        </p:nvGrpSpPr>
        <p:grpSpPr>
          <a:xfrm>
            <a:off x="7441336" y="1369030"/>
            <a:ext cx="519837" cy="4427263"/>
            <a:chOff x="7424244" y="1369030"/>
            <a:chExt cx="519837" cy="4427263"/>
          </a:xfrm>
        </p:grpSpPr>
        <p:pic>
          <p:nvPicPr>
            <p:cNvPr id="103" name="Picture 102">
              <a:extLst>
                <a:ext uri="{FF2B5EF4-FFF2-40B4-BE49-F238E27FC236}">
                  <a16:creationId xmlns:a16="http://schemas.microsoft.com/office/drawing/2014/main" id="{8F22C86A-3D1B-49DE-B395-6BDC2AA01AD8}"/>
                </a:ext>
              </a:extLst>
            </p:cNvPr>
            <p:cNvPicPr>
              <a:picLocks noChangeAspect="1"/>
            </p:cNvPicPr>
            <p:nvPr/>
          </p:nvPicPr>
          <p:blipFill>
            <a:blip r:embed="rId7"/>
            <a:stretch>
              <a:fillRect/>
            </a:stretch>
          </p:blipFill>
          <p:spPr>
            <a:xfrm>
              <a:off x="7530069" y="1369030"/>
              <a:ext cx="308187" cy="357895"/>
            </a:xfrm>
            <a:prstGeom prst="rect">
              <a:avLst/>
            </a:prstGeom>
          </p:spPr>
        </p:pic>
        <p:pic>
          <p:nvPicPr>
            <p:cNvPr id="53" name="Picture 52">
              <a:extLst>
                <a:ext uri="{FF2B5EF4-FFF2-40B4-BE49-F238E27FC236}">
                  <a16:creationId xmlns:a16="http://schemas.microsoft.com/office/drawing/2014/main" id="{6FF96284-54B9-4C8D-893A-27C7040EC1D7}"/>
                </a:ext>
              </a:extLst>
            </p:cNvPr>
            <p:cNvPicPr>
              <a:picLocks noChangeAspect="1"/>
            </p:cNvPicPr>
            <p:nvPr/>
          </p:nvPicPr>
          <p:blipFill>
            <a:blip r:embed="rId7"/>
            <a:stretch>
              <a:fillRect/>
            </a:stretch>
          </p:blipFill>
          <p:spPr>
            <a:xfrm>
              <a:off x="7530069" y="1964546"/>
              <a:ext cx="308187" cy="357895"/>
            </a:xfrm>
            <a:prstGeom prst="rect">
              <a:avLst/>
            </a:prstGeom>
          </p:spPr>
        </p:pic>
        <p:pic>
          <p:nvPicPr>
            <p:cNvPr id="56" name="Picture 55">
              <a:extLst>
                <a:ext uri="{FF2B5EF4-FFF2-40B4-BE49-F238E27FC236}">
                  <a16:creationId xmlns:a16="http://schemas.microsoft.com/office/drawing/2014/main" id="{BB8A1128-A10A-4349-8CD1-064D38430FE2}"/>
                </a:ext>
              </a:extLst>
            </p:cNvPr>
            <p:cNvPicPr>
              <a:picLocks noChangeAspect="1"/>
            </p:cNvPicPr>
            <p:nvPr/>
          </p:nvPicPr>
          <p:blipFill>
            <a:blip r:embed="rId7"/>
            <a:stretch>
              <a:fillRect/>
            </a:stretch>
          </p:blipFill>
          <p:spPr>
            <a:xfrm>
              <a:off x="7530069" y="2560062"/>
              <a:ext cx="308187" cy="357895"/>
            </a:xfrm>
            <a:prstGeom prst="rect">
              <a:avLst/>
            </a:prstGeom>
          </p:spPr>
        </p:pic>
        <p:pic>
          <p:nvPicPr>
            <p:cNvPr id="58" name="Picture 57">
              <a:extLst>
                <a:ext uri="{FF2B5EF4-FFF2-40B4-BE49-F238E27FC236}">
                  <a16:creationId xmlns:a16="http://schemas.microsoft.com/office/drawing/2014/main" id="{81D0FB31-18E8-4FF7-ADC5-076E6D63BE0C}"/>
                </a:ext>
              </a:extLst>
            </p:cNvPr>
            <p:cNvPicPr>
              <a:picLocks noChangeAspect="1"/>
            </p:cNvPicPr>
            <p:nvPr/>
          </p:nvPicPr>
          <p:blipFill>
            <a:blip r:embed="rId7"/>
            <a:stretch>
              <a:fillRect/>
            </a:stretch>
          </p:blipFill>
          <p:spPr>
            <a:xfrm>
              <a:off x="7530069" y="3103693"/>
              <a:ext cx="308187" cy="357895"/>
            </a:xfrm>
            <a:prstGeom prst="rect">
              <a:avLst/>
            </a:prstGeom>
          </p:spPr>
        </p:pic>
        <p:pic>
          <p:nvPicPr>
            <p:cNvPr id="59" name="Picture 58">
              <a:extLst>
                <a:ext uri="{FF2B5EF4-FFF2-40B4-BE49-F238E27FC236}">
                  <a16:creationId xmlns:a16="http://schemas.microsoft.com/office/drawing/2014/main" id="{F6CAB7E4-3BF3-41CC-896D-B313F5493EE0}"/>
                </a:ext>
              </a:extLst>
            </p:cNvPr>
            <p:cNvPicPr>
              <a:picLocks noChangeAspect="1"/>
            </p:cNvPicPr>
            <p:nvPr/>
          </p:nvPicPr>
          <p:blipFill>
            <a:blip r:embed="rId7"/>
            <a:stretch>
              <a:fillRect/>
            </a:stretch>
          </p:blipFill>
          <p:spPr>
            <a:xfrm>
              <a:off x="7530069" y="3647324"/>
              <a:ext cx="308187" cy="357895"/>
            </a:xfrm>
            <a:prstGeom prst="rect">
              <a:avLst/>
            </a:prstGeom>
          </p:spPr>
        </p:pic>
        <p:pic>
          <p:nvPicPr>
            <p:cNvPr id="104" name="Picture 103">
              <a:extLst>
                <a:ext uri="{FF2B5EF4-FFF2-40B4-BE49-F238E27FC236}">
                  <a16:creationId xmlns:a16="http://schemas.microsoft.com/office/drawing/2014/main" id="{620A63A4-CEEC-40D2-BD22-ACE7C0A8AF29}"/>
                </a:ext>
              </a:extLst>
            </p:cNvPr>
            <p:cNvPicPr>
              <a:picLocks noChangeAspect="1"/>
            </p:cNvPicPr>
            <p:nvPr/>
          </p:nvPicPr>
          <p:blipFill>
            <a:blip r:embed="rId8"/>
            <a:stretch>
              <a:fillRect/>
            </a:stretch>
          </p:blipFill>
          <p:spPr>
            <a:xfrm>
              <a:off x="7468393" y="4241143"/>
              <a:ext cx="431538" cy="361288"/>
            </a:xfrm>
            <a:prstGeom prst="rect">
              <a:avLst/>
            </a:prstGeom>
          </p:spPr>
        </p:pic>
        <p:pic>
          <p:nvPicPr>
            <p:cNvPr id="105" name="Picture 104">
              <a:extLst>
                <a:ext uri="{FF2B5EF4-FFF2-40B4-BE49-F238E27FC236}">
                  <a16:creationId xmlns:a16="http://schemas.microsoft.com/office/drawing/2014/main" id="{C1554B09-A545-4865-AEC0-E77F7E858A75}"/>
                </a:ext>
              </a:extLst>
            </p:cNvPr>
            <p:cNvPicPr>
              <a:picLocks noChangeAspect="1"/>
            </p:cNvPicPr>
            <p:nvPr/>
          </p:nvPicPr>
          <p:blipFill>
            <a:blip r:embed="rId9"/>
            <a:stretch>
              <a:fillRect/>
            </a:stretch>
          </p:blipFill>
          <p:spPr>
            <a:xfrm>
              <a:off x="7424244" y="4833831"/>
              <a:ext cx="519837" cy="366944"/>
            </a:xfrm>
            <a:prstGeom prst="rect">
              <a:avLst/>
            </a:prstGeom>
          </p:spPr>
        </p:pic>
        <p:pic>
          <p:nvPicPr>
            <p:cNvPr id="67" name="Picture 66">
              <a:extLst>
                <a:ext uri="{FF2B5EF4-FFF2-40B4-BE49-F238E27FC236}">
                  <a16:creationId xmlns:a16="http://schemas.microsoft.com/office/drawing/2014/main" id="{0CF000F6-61B5-4EB4-96B9-8EE55C5838E8}"/>
                </a:ext>
              </a:extLst>
            </p:cNvPr>
            <p:cNvPicPr>
              <a:picLocks noChangeAspect="1"/>
            </p:cNvPicPr>
            <p:nvPr/>
          </p:nvPicPr>
          <p:blipFill>
            <a:blip r:embed="rId9"/>
            <a:stretch>
              <a:fillRect/>
            </a:stretch>
          </p:blipFill>
          <p:spPr>
            <a:xfrm>
              <a:off x="7424244" y="5429349"/>
              <a:ext cx="519837" cy="366944"/>
            </a:xfrm>
            <a:prstGeom prst="rect">
              <a:avLst/>
            </a:prstGeom>
          </p:spPr>
        </p:pic>
      </p:grpSp>
      <p:sp>
        <p:nvSpPr>
          <p:cNvPr id="73" name="TextBox 72">
            <a:extLst>
              <a:ext uri="{FF2B5EF4-FFF2-40B4-BE49-F238E27FC236}">
                <a16:creationId xmlns:a16="http://schemas.microsoft.com/office/drawing/2014/main" id="{003CC776-9CC9-4DBC-A3E4-FBE4F8211CE8}"/>
              </a:ext>
            </a:extLst>
          </p:cNvPr>
          <p:cNvSpPr txBox="1"/>
          <p:nvPr/>
        </p:nvSpPr>
        <p:spPr>
          <a:xfrm>
            <a:off x="8225783" y="5381989"/>
            <a:ext cx="3685557" cy="461665"/>
          </a:xfrm>
          <a:prstGeom prst="rect">
            <a:avLst/>
          </a:prstGeom>
          <a:noFill/>
        </p:spPr>
        <p:txBody>
          <a:bodyPr wrap="square" rtlCol="0">
            <a:spAutoFit/>
          </a:bodyPr>
          <a:lstStyle/>
          <a:p>
            <a:pPr>
              <a:spcBef>
                <a:spcPts val="1000"/>
              </a:spcBef>
              <a:buClr>
                <a:srgbClr val="FFFFFF"/>
              </a:buClr>
              <a:defRPr/>
            </a:pPr>
            <a:r>
              <a:rPr lang="en-US" sz="1200" kern="1200">
                <a:solidFill>
                  <a:srgbClr val="FFFFFF"/>
                </a:solidFill>
              </a:rPr>
              <a:t>Research and engage with QSMOs on available solution offerings within the marketplace</a:t>
            </a:r>
          </a:p>
        </p:txBody>
      </p:sp>
    </p:spTree>
    <p:extLst>
      <p:ext uri="{BB962C8B-B14F-4D97-AF65-F5344CB8AC3E}">
        <p14:creationId xmlns:p14="http://schemas.microsoft.com/office/powerpoint/2010/main" val="3663648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88A3E7-6558-47FD-91FA-D0EA9E266A34}"/>
              </a:ext>
            </a:extLst>
          </p:cNvPr>
          <p:cNvSpPr/>
          <p:nvPr/>
        </p:nvSpPr>
        <p:spPr>
          <a:xfrm>
            <a:off x="77034" y="544286"/>
            <a:ext cx="12071424" cy="6767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D579E0-6886-4322-B2B2-F22CC80F64B3}"/>
              </a:ext>
            </a:extLst>
          </p:cNvPr>
          <p:cNvSpPr/>
          <p:nvPr/>
        </p:nvSpPr>
        <p:spPr>
          <a:xfrm>
            <a:off x="528918" y="6222434"/>
            <a:ext cx="1228164" cy="51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nvGrpSpPr>
          <p:cNvPr id="19" name="Group 18">
            <a:extLst>
              <a:ext uri="{FF2B5EF4-FFF2-40B4-BE49-F238E27FC236}">
                <a16:creationId xmlns:a16="http://schemas.microsoft.com/office/drawing/2014/main" id="{A146E0D1-78D8-4DC4-8BB3-7CB2D7340D78}"/>
              </a:ext>
            </a:extLst>
          </p:cNvPr>
          <p:cNvGrpSpPr/>
          <p:nvPr/>
        </p:nvGrpSpPr>
        <p:grpSpPr>
          <a:xfrm>
            <a:off x="7007585" y="0"/>
            <a:ext cx="5184416" cy="6858000"/>
            <a:chOff x="1426029" y="1850572"/>
            <a:chExt cx="6193971" cy="4093030"/>
          </a:xfrm>
        </p:grpSpPr>
        <p:sp>
          <p:nvSpPr>
            <p:cNvPr id="20" name="Freeform: Shape 19">
              <a:extLst>
                <a:ext uri="{FF2B5EF4-FFF2-40B4-BE49-F238E27FC236}">
                  <a16:creationId xmlns:a16="http://schemas.microsoft.com/office/drawing/2014/main" id="{3E765E4C-69A4-441B-A03C-FBA2C4EA48C5}"/>
                </a:ext>
              </a:extLst>
            </p:cNvPr>
            <p:cNvSpPr/>
            <p:nvPr/>
          </p:nvSpPr>
          <p:spPr>
            <a:xfrm rot="5400000" flipH="1">
              <a:off x="2476500" y="800102"/>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21" name="Picture 20">
              <a:extLst>
                <a:ext uri="{FF2B5EF4-FFF2-40B4-BE49-F238E27FC236}">
                  <a16:creationId xmlns:a16="http://schemas.microsoft.com/office/drawing/2014/main" id="{1E6FBCF5-9558-4104-B8C5-451F6F7633AE}"/>
                </a:ext>
              </a:extLst>
            </p:cNvPr>
            <p:cNvPicPr>
              <a:picLocks noChangeAspect="1"/>
            </p:cNvPicPr>
            <p:nvPr/>
          </p:nvPicPr>
          <p:blipFill>
            <a:blip r:embed="rId3"/>
            <a:srcRect l="41956" t="30520" r="18072" b="13003"/>
            <a:stretch>
              <a:fillRect/>
            </a:stretch>
          </p:blipFill>
          <p:spPr>
            <a:xfrm rot="5400000" flipH="1">
              <a:off x="2476500" y="800101"/>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p:spPr>
        </p:pic>
      </p:grpSp>
      <p:sp>
        <p:nvSpPr>
          <p:cNvPr id="6" name="Slide Number Placeholder 5">
            <a:extLst>
              <a:ext uri="{FF2B5EF4-FFF2-40B4-BE49-F238E27FC236}">
                <a16:creationId xmlns:a16="http://schemas.microsoft.com/office/drawing/2014/main" id="{AC83790E-8BFC-469D-96E8-F9C16FC64CDA}"/>
              </a:ext>
            </a:extLst>
          </p:cNvPr>
          <p:cNvSpPr>
            <a:spLocks noGrp="1"/>
          </p:cNvSpPr>
          <p:nvPr>
            <p:ph type="sldNum" idx="10"/>
          </p:nvPr>
        </p:nvSpPr>
        <p:spPr>
          <a:xfrm>
            <a:off x="11037018" y="6011305"/>
            <a:ext cx="731600" cy="524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chemeClr val="bg1"/>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lang="en" sz="1200" b="1"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5" name="Text Placeholder 7">
            <a:extLst>
              <a:ext uri="{FF2B5EF4-FFF2-40B4-BE49-F238E27FC236}">
                <a16:creationId xmlns:a16="http://schemas.microsoft.com/office/drawing/2014/main" id="{9940FBCF-C3B4-4851-BDF2-E431FC8F4B4D}"/>
              </a:ext>
            </a:extLst>
          </p:cNvPr>
          <p:cNvSpPr txBox="1">
            <a:spLocks/>
          </p:cNvSpPr>
          <p:nvPr/>
        </p:nvSpPr>
        <p:spPr>
          <a:xfrm>
            <a:off x="374904" y="6461559"/>
            <a:ext cx="5348047" cy="1951154"/>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050" b="0" i="0" u="none" strike="noStrike" kern="0" cap="none" spc="0" normalizeH="0" baseline="0" noProof="0" dirty="0">
                <a:ln>
                  <a:noFill/>
                </a:ln>
                <a:solidFill>
                  <a:srgbClr val="005087"/>
                </a:solidFill>
                <a:effectLst/>
                <a:uLnTx/>
                <a:uFillTx/>
                <a:latin typeface="Arial"/>
                <a:cs typeface="Arial"/>
                <a:sym typeface="Arial"/>
              </a:rPr>
              <a:t>* Learn more about the Selection phase activities and templates by clicking </a:t>
            </a:r>
            <a:r>
              <a:rPr kumimoji="0" lang="en-US" sz="1050" b="0" i="0" u="none" strike="noStrike" kern="0" cap="none" spc="0" normalizeH="0" baseline="0" noProof="0" dirty="0">
                <a:ln>
                  <a:noFill/>
                </a:ln>
                <a:solidFill>
                  <a:srgbClr val="005087"/>
                </a:solidFill>
                <a:effectLst/>
                <a:uLnTx/>
                <a:uFillTx/>
                <a:latin typeface="Arial"/>
                <a:cs typeface="Arial"/>
                <a:sym typeface="Arial"/>
                <a:hlinkClick r:id="rId4">
                  <a:extLst>
                    <a:ext uri="{A12FA001-AC4F-418D-AE19-62706E023703}">
                      <ahyp:hlinkClr xmlns:ahyp="http://schemas.microsoft.com/office/drawing/2018/hyperlinkcolor" val="tx"/>
                    </a:ext>
                  </a:extLst>
                </a:hlinkClick>
              </a:rPr>
              <a:t>here</a:t>
            </a:r>
            <a:endParaRPr kumimoji="0" lang="en-US" sz="1050" b="0" i="0" u="none" strike="noStrike" kern="0" cap="none" spc="0" normalizeH="0" baseline="0" noProof="0" dirty="0">
              <a:ln>
                <a:noFill/>
              </a:ln>
              <a:solidFill>
                <a:srgbClr val="005087"/>
              </a:solidFill>
              <a:effectLst/>
              <a:uLnTx/>
              <a:uFillTx/>
              <a:latin typeface="Arial"/>
              <a:cs typeface="Arial"/>
              <a:sym typeface="Arial"/>
            </a:endParaRPr>
          </a:p>
        </p:txBody>
      </p:sp>
      <p:cxnSp>
        <p:nvCxnSpPr>
          <p:cNvPr id="22" name="Straight Connector 21">
            <a:extLst>
              <a:ext uri="{FF2B5EF4-FFF2-40B4-BE49-F238E27FC236}">
                <a16:creationId xmlns:a16="http://schemas.microsoft.com/office/drawing/2014/main" id="{56417584-F4CD-489B-90C1-6EEAFC9708F8}"/>
              </a:ext>
            </a:extLst>
          </p:cNvPr>
          <p:cNvCxnSpPr>
            <a:cxnSpLocks/>
          </p:cNvCxnSpPr>
          <p:nvPr/>
        </p:nvCxnSpPr>
        <p:spPr>
          <a:xfrm>
            <a:off x="-4392" y="936183"/>
            <a:ext cx="5895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F1C974B4-7A26-4ECA-BA8F-BD644EE9ED1E}"/>
              </a:ext>
            </a:extLst>
          </p:cNvPr>
          <p:cNvSpPr>
            <a:spLocks noGrp="1"/>
          </p:cNvSpPr>
          <p:nvPr>
            <p:ph type="title"/>
          </p:nvPr>
        </p:nvSpPr>
        <p:spPr>
          <a:xfrm>
            <a:off x="638355" y="321995"/>
            <a:ext cx="10938293" cy="855691"/>
          </a:xfrm>
        </p:spPr>
        <p:txBody>
          <a:bodyPr/>
          <a:lstStyle/>
          <a:p>
            <a:r>
              <a:rPr lang="en-US">
                <a:solidFill>
                  <a:schemeClr val="tx1"/>
                </a:solidFill>
              </a:rPr>
              <a:t>Phase 2: Selection</a:t>
            </a:r>
          </a:p>
        </p:txBody>
      </p:sp>
      <p:sp>
        <p:nvSpPr>
          <p:cNvPr id="92" name="Text Placeholder 7">
            <a:extLst>
              <a:ext uri="{FF2B5EF4-FFF2-40B4-BE49-F238E27FC236}">
                <a16:creationId xmlns:a16="http://schemas.microsoft.com/office/drawing/2014/main" id="{C2ED52EA-7EA1-4BE9-AFED-54B7E54F8247}"/>
              </a:ext>
            </a:extLst>
          </p:cNvPr>
          <p:cNvSpPr txBox="1">
            <a:spLocks/>
          </p:cNvSpPr>
          <p:nvPr/>
        </p:nvSpPr>
        <p:spPr>
          <a:xfrm>
            <a:off x="7436338" y="678567"/>
            <a:ext cx="4384221" cy="1556143"/>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800" b="1" i="0" u="none" strike="noStrike" kern="0" cap="none" spc="0" normalizeH="0" baseline="0" noProof="0" dirty="0">
                <a:ln>
                  <a:noFill/>
                </a:ln>
                <a:solidFill>
                  <a:srgbClr val="FFFFFF"/>
                </a:solidFill>
                <a:effectLst/>
                <a:uLnTx/>
                <a:uFillTx/>
                <a:latin typeface="Arial"/>
                <a:cs typeface="Arial"/>
                <a:sym typeface="Arial"/>
              </a:rPr>
              <a:t>Key Activities*</a:t>
            </a:r>
          </a:p>
        </p:txBody>
      </p:sp>
      <p:sp>
        <p:nvSpPr>
          <p:cNvPr id="52" name="Footer Placeholder 2">
            <a:extLst>
              <a:ext uri="{FF2B5EF4-FFF2-40B4-BE49-F238E27FC236}">
                <a16:creationId xmlns:a16="http://schemas.microsoft.com/office/drawing/2014/main" id="{734000D9-68DA-421B-A470-3A1AA592AD7D}"/>
              </a:ext>
            </a:extLst>
          </p:cNvPr>
          <p:cNvSpPr>
            <a:spLocks noGrp="1"/>
          </p:cNvSpPr>
          <p:nvPr>
            <p:ph type="ftr" sz="quarter" idx="11"/>
          </p:nvPr>
        </p:nvSpPr>
        <p:spPr>
          <a:xfrm>
            <a:off x="8077200" y="76362"/>
            <a:ext cx="3499448" cy="254259"/>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chemeClr val="bg1"/>
                </a:solidFill>
                <a:effectLst/>
                <a:uLnTx/>
                <a:uFillTx/>
                <a:latin typeface="Arial"/>
                <a:ea typeface="+mn-ea"/>
                <a:cs typeface="Arial"/>
                <a:sym typeface="Arial"/>
              </a:rPr>
              <a:t>M3 Playbook Orientation</a:t>
            </a:r>
          </a:p>
        </p:txBody>
      </p:sp>
      <p:cxnSp>
        <p:nvCxnSpPr>
          <p:cNvPr id="45" name="Straight Connector 44">
            <a:extLst>
              <a:ext uri="{FF2B5EF4-FFF2-40B4-BE49-F238E27FC236}">
                <a16:creationId xmlns:a16="http://schemas.microsoft.com/office/drawing/2014/main" id="{45B0AC14-F726-4D9D-ACD7-497E8C54C8CB}"/>
              </a:ext>
            </a:extLst>
          </p:cNvPr>
          <p:cNvCxnSpPr>
            <a:cxnSpLocks/>
          </p:cNvCxnSpPr>
          <p:nvPr/>
        </p:nvCxnSpPr>
        <p:spPr>
          <a:xfrm flipV="1">
            <a:off x="-4392" y="920967"/>
            <a:ext cx="6206888" cy="15216"/>
          </a:xfrm>
          <a:prstGeom prst="line">
            <a:avLst/>
          </a:prstGeom>
          <a:ln>
            <a:solidFill>
              <a:srgbClr val="92D050"/>
            </a:solidFill>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2F2FE07A-06C4-4F41-8DB9-8DC750D52F8F}"/>
              </a:ext>
            </a:extLst>
          </p:cNvPr>
          <p:cNvGrpSpPr/>
          <p:nvPr/>
        </p:nvGrpSpPr>
        <p:grpSpPr>
          <a:xfrm>
            <a:off x="483489" y="3942609"/>
            <a:ext cx="5938769" cy="2551226"/>
            <a:chOff x="5426229" y="3780826"/>
            <a:chExt cx="5938769" cy="2551226"/>
          </a:xfrm>
        </p:grpSpPr>
        <p:sp>
          <p:nvSpPr>
            <p:cNvPr id="55" name="Content Placeholder 2">
              <a:extLst>
                <a:ext uri="{FF2B5EF4-FFF2-40B4-BE49-F238E27FC236}">
                  <a16:creationId xmlns:a16="http://schemas.microsoft.com/office/drawing/2014/main" id="{2A69E128-FA95-483E-9E7A-65B2AB41F9D6}"/>
                </a:ext>
              </a:extLst>
            </p:cNvPr>
            <p:cNvSpPr txBox="1">
              <a:spLocks/>
            </p:cNvSpPr>
            <p:nvPr/>
          </p:nvSpPr>
          <p:spPr>
            <a:xfrm>
              <a:off x="5427825" y="3922329"/>
              <a:ext cx="2371539"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Scope of Services</a:t>
              </a:r>
            </a:p>
            <a:p>
              <a:pPr marL="109728" lvl="0" indent="-109728">
                <a:spcBef>
                  <a:spcPts val="400"/>
                </a:spcBef>
                <a:buClr>
                  <a:srgbClr val="160083"/>
                </a:buClr>
                <a:buSzPct val="100000"/>
              </a:pPr>
              <a:r>
                <a:rPr lang="en-US" sz="1100">
                  <a:solidFill>
                    <a:srgbClr val="000000"/>
                  </a:solidFill>
                  <a:ea typeface="Arial"/>
                  <a:cs typeface="Arial"/>
                </a:rPr>
                <a:t>Business Capabilities</a:t>
              </a:r>
            </a:p>
            <a:p>
              <a:pPr marL="109728" lvl="0" indent="-109728">
                <a:spcBef>
                  <a:spcPts val="400"/>
                </a:spcBef>
                <a:buClr>
                  <a:srgbClr val="160083"/>
                </a:buClr>
                <a:buSzPct val="100000"/>
              </a:pPr>
              <a:r>
                <a:rPr lang="en-US" sz="1100">
                  <a:solidFill>
                    <a:srgbClr val="000000"/>
                  </a:solidFill>
                  <a:ea typeface="Arial"/>
                  <a:cs typeface="Arial"/>
                </a:rPr>
                <a:t>Business Needs Workbook</a:t>
              </a:r>
            </a:p>
            <a:p>
              <a:pPr marL="109728" lvl="0" indent="-109728">
                <a:spcBef>
                  <a:spcPts val="400"/>
                </a:spcBef>
                <a:buClr>
                  <a:srgbClr val="160083"/>
                </a:buClr>
                <a:buSzPct val="100000"/>
              </a:pPr>
              <a:r>
                <a:rPr lang="en-US" sz="1100">
                  <a:solidFill>
                    <a:srgbClr val="000000"/>
                  </a:solidFill>
                  <a:ea typeface="Arial"/>
                  <a:cs typeface="Arial"/>
                </a:rPr>
                <a:t>Acquisition Strategy</a:t>
              </a:r>
            </a:p>
          </p:txBody>
        </p:sp>
        <p:sp>
          <p:nvSpPr>
            <p:cNvPr id="57" name="Content Placeholder 2">
              <a:extLst>
                <a:ext uri="{FF2B5EF4-FFF2-40B4-BE49-F238E27FC236}">
                  <a16:creationId xmlns:a16="http://schemas.microsoft.com/office/drawing/2014/main" id="{B082D674-97EB-4783-B5A1-D74E28432231}"/>
                </a:ext>
              </a:extLst>
            </p:cNvPr>
            <p:cNvSpPr txBox="1">
              <a:spLocks/>
            </p:cNvSpPr>
            <p:nvPr/>
          </p:nvSpPr>
          <p:spPr>
            <a:xfrm>
              <a:off x="8623954" y="3922329"/>
              <a:ext cx="2741044"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Implementation Approach/Schedule</a:t>
              </a:r>
            </a:p>
            <a:p>
              <a:pPr marL="109728" lvl="0" indent="-109728">
                <a:spcBef>
                  <a:spcPts val="400"/>
                </a:spcBef>
                <a:buClr>
                  <a:srgbClr val="160083"/>
                </a:buClr>
                <a:buSzPct val="100000"/>
              </a:pPr>
              <a:r>
                <a:rPr lang="en-US" sz="1100">
                  <a:solidFill>
                    <a:srgbClr val="000000"/>
                  </a:solidFill>
                  <a:ea typeface="Arial"/>
                  <a:cs typeface="Arial"/>
                </a:rPr>
                <a:t>Change Management Plan</a:t>
              </a:r>
            </a:p>
            <a:p>
              <a:pPr marL="109728" lvl="0" indent="-109728">
                <a:spcBef>
                  <a:spcPts val="400"/>
                </a:spcBef>
                <a:buClr>
                  <a:srgbClr val="160083"/>
                </a:buClr>
                <a:buSzPct val="100000"/>
              </a:pPr>
              <a:r>
                <a:rPr lang="en-US" sz="1100">
                  <a:solidFill>
                    <a:srgbClr val="000000"/>
                  </a:solidFill>
                  <a:ea typeface="Arial"/>
                  <a:cs typeface="Arial"/>
                </a:rPr>
                <a:t>Communications Plan</a:t>
              </a:r>
            </a:p>
            <a:p>
              <a:pPr marL="109728" lvl="0" indent="-109728">
                <a:spcBef>
                  <a:spcPts val="400"/>
                </a:spcBef>
                <a:buClr>
                  <a:srgbClr val="160083"/>
                </a:buClr>
                <a:buSzPct val="100000"/>
              </a:pPr>
              <a:r>
                <a:rPr lang="en-US" sz="1100">
                  <a:solidFill>
                    <a:srgbClr val="000000"/>
                  </a:solidFill>
                  <a:ea typeface="Arial"/>
                  <a:cs typeface="Arial"/>
                </a:rPr>
                <a:t>Status Reports/Dashboards</a:t>
              </a:r>
            </a:p>
          </p:txBody>
        </p:sp>
        <p:sp>
          <p:nvSpPr>
            <p:cNvPr id="59" name="Content Placeholder 2">
              <a:extLst>
                <a:ext uri="{FF2B5EF4-FFF2-40B4-BE49-F238E27FC236}">
                  <a16:creationId xmlns:a16="http://schemas.microsoft.com/office/drawing/2014/main" id="{9E6B53B5-C115-4817-8F4E-85970C4779AC}"/>
                </a:ext>
              </a:extLst>
            </p:cNvPr>
            <p:cNvSpPr txBox="1">
              <a:spLocks/>
            </p:cNvSpPr>
            <p:nvPr/>
          </p:nvSpPr>
          <p:spPr>
            <a:xfrm>
              <a:off x="5426268" y="4991271"/>
              <a:ext cx="2254582"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Stakeholders</a:t>
              </a:r>
              <a:endParaRPr kumimoji="0" lang="en-US" sz="12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60" name="Content Placeholder 2">
              <a:extLst>
                <a:ext uri="{FF2B5EF4-FFF2-40B4-BE49-F238E27FC236}">
                  <a16:creationId xmlns:a16="http://schemas.microsoft.com/office/drawing/2014/main" id="{98739D45-CAE7-41F8-B4CC-9CAA32BF915F}"/>
                </a:ext>
              </a:extLst>
            </p:cNvPr>
            <p:cNvSpPr txBox="1">
              <a:spLocks/>
            </p:cNvSpPr>
            <p:nvPr/>
          </p:nvSpPr>
          <p:spPr>
            <a:xfrm>
              <a:off x="5426231" y="5365121"/>
              <a:ext cx="2192264"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defRPr/>
              </a:pPr>
              <a:r>
                <a:rPr lang="en-US" sz="1100">
                  <a:solidFill>
                    <a:srgbClr val="000000"/>
                  </a:solidFill>
                  <a:ea typeface="Arial"/>
                  <a:cs typeface="Arial"/>
                </a:rPr>
                <a:t>Executive Sponsor</a:t>
              </a:r>
            </a:p>
            <a:p>
              <a:pPr marL="109728" lvl="0" indent="-109728">
                <a:spcBef>
                  <a:spcPts val="400"/>
                </a:spcBef>
                <a:buClr>
                  <a:srgbClr val="160083"/>
                </a:buClr>
                <a:buSzPct val="100000"/>
                <a:defRPr/>
              </a:pPr>
              <a:r>
                <a:rPr lang="en-US" sz="1100">
                  <a:solidFill>
                    <a:srgbClr val="000000"/>
                  </a:solidFill>
                  <a:ea typeface="Arial"/>
                  <a:cs typeface="Arial"/>
                </a:rPr>
                <a:t>Organization Executives (CXOs)</a:t>
              </a:r>
            </a:p>
            <a:p>
              <a:pPr marL="109728" lvl="0" indent="-109728">
                <a:spcBef>
                  <a:spcPts val="400"/>
                </a:spcBef>
                <a:buClr>
                  <a:srgbClr val="160083"/>
                </a:buClr>
                <a:buSzPct val="100000"/>
                <a:defRPr/>
              </a:pPr>
              <a:r>
                <a:rPr lang="en-US" sz="1100">
                  <a:solidFill>
                    <a:srgbClr val="000000"/>
                  </a:solidFill>
                  <a:ea typeface="Arial"/>
                  <a:cs typeface="Arial"/>
                </a:rPr>
                <a:t>Program Manager</a:t>
              </a:r>
            </a:p>
            <a:p>
              <a:pPr marL="109728" indent="-109728">
                <a:spcBef>
                  <a:spcPts val="400"/>
                </a:spcBef>
                <a:buClr>
                  <a:srgbClr val="160083"/>
                </a:buClr>
                <a:buSzPct val="100000"/>
              </a:pPr>
              <a:r>
                <a:rPr lang="en-US" sz="1100">
                  <a:solidFill>
                    <a:srgbClr val="000000"/>
                  </a:solidFill>
                  <a:ea typeface="Arial"/>
                  <a:cs typeface="Arial"/>
                </a:rPr>
                <a:t>Functional Lead</a:t>
              </a:r>
            </a:p>
          </p:txBody>
        </p:sp>
        <p:sp>
          <p:nvSpPr>
            <p:cNvPr id="61" name="Content Placeholder 2">
              <a:extLst>
                <a:ext uri="{FF2B5EF4-FFF2-40B4-BE49-F238E27FC236}">
                  <a16:creationId xmlns:a16="http://schemas.microsoft.com/office/drawing/2014/main" id="{38A8AC54-9F07-4195-809B-4B3EA7B0BCAA}"/>
                </a:ext>
              </a:extLst>
            </p:cNvPr>
            <p:cNvSpPr txBox="1">
              <a:spLocks/>
            </p:cNvSpPr>
            <p:nvPr/>
          </p:nvSpPr>
          <p:spPr>
            <a:xfrm>
              <a:off x="8570028" y="5365121"/>
              <a:ext cx="2263558" cy="966931"/>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indent="-109728">
                <a:spcBef>
                  <a:spcPts val="400"/>
                </a:spcBef>
                <a:buClr>
                  <a:srgbClr val="160083"/>
                </a:buClr>
                <a:buSzPct val="100000"/>
              </a:pPr>
              <a:r>
                <a:rPr lang="en-US" sz="1100">
                  <a:solidFill>
                    <a:srgbClr val="000000"/>
                  </a:solidFill>
                  <a:ea typeface="Arial"/>
                  <a:cs typeface="Arial"/>
                </a:rPr>
                <a:t>Functional SME</a:t>
              </a:r>
            </a:p>
            <a:p>
              <a:pPr marL="109728" lvl="0" indent="-109728">
                <a:spcBef>
                  <a:spcPts val="400"/>
                </a:spcBef>
                <a:buClr>
                  <a:srgbClr val="160083"/>
                </a:buClr>
                <a:buSzPct val="100000"/>
              </a:pPr>
              <a:r>
                <a:rPr lang="en-US" sz="1100">
                  <a:solidFill>
                    <a:srgbClr val="000000"/>
                  </a:solidFill>
                  <a:ea typeface="Arial"/>
                  <a:cs typeface="Arial"/>
                </a:rPr>
                <a:t>Technical Lead/Solution Architect</a:t>
              </a:r>
            </a:p>
            <a:p>
              <a:pPr marL="109728" lvl="0" indent="-109728">
                <a:spcBef>
                  <a:spcPts val="400"/>
                </a:spcBef>
                <a:buClr>
                  <a:srgbClr val="160083"/>
                </a:buClr>
                <a:buSzPct val="100000"/>
              </a:pPr>
              <a:r>
                <a:rPr lang="en-US" sz="1100">
                  <a:solidFill>
                    <a:srgbClr val="000000"/>
                  </a:solidFill>
                  <a:ea typeface="Arial"/>
                  <a:cs typeface="Arial"/>
                </a:rPr>
                <a:t>Technical SME</a:t>
              </a:r>
            </a:p>
            <a:p>
              <a:pPr marL="109728" lvl="0" indent="-109728">
                <a:spcBef>
                  <a:spcPts val="400"/>
                </a:spcBef>
                <a:buClr>
                  <a:srgbClr val="160083"/>
                </a:buClr>
                <a:buSzPct val="100000"/>
              </a:pPr>
              <a:r>
                <a:rPr lang="en-US" sz="1100">
                  <a:solidFill>
                    <a:srgbClr val="000000"/>
                  </a:solidFill>
                  <a:ea typeface="Arial"/>
                  <a:cs typeface="Arial"/>
                </a:rPr>
                <a:t>QSMO</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69" name="Rectangle 68">
              <a:extLst>
                <a:ext uri="{FF2B5EF4-FFF2-40B4-BE49-F238E27FC236}">
                  <a16:creationId xmlns:a16="http://schemas.microsoft.com/office/drawing/2014/main" id="{10635758-E859-4A64-BD72-71D397161DF9}"/>
                </a:ext>
              </a:extLst>
            </p:cNvPr>
            <p:cNvSpPr/>
            <p:nvPr/>
          </p:nvSpPr>
          <p:spPr>
            <a:xfrm>
              <a:off x="8623953"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7723294C-428E-4424-9576-5D3F07AB11BC}"/>
                </a:ext>
              </a:extLst>
            </p:cNvPr>
            <p:cNvSpPr/>
            <p:nvPr/>
          </p:nvSpPr>
          <p:spPr>
            <a:xfrm>
              <a:off x="5427826"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7D0C3C43-DE3D-4A31-9B53-FB9D5001744D}"/>
                </a:ext>
              </a:extLst>
            </p:cNvPr>
            <p:cNvSpPr/>
            <p:nvPr/>
          </p:nvSpPr>
          <p:spPr>
            <a:xfrm flipV="1">
              <a:off x="5426229" y="5208536"/>
              <a:ext cx="5669280"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3AD5BAE2-2863-47B5-ABBB-E1EA6750743A}"/>
              </a:ext>
            </a:extLst>
          </p:cNvPr>
          <p:cNvGrpSpPr/>
          <p:nvPr/>
        </p:nvGrpSpPr>
        <p:grpSpPr>
          <a:xfrm>
            <a:off x="374904" y="1197864"/>
            <a:ext cx="6126480" cy="2258568"/>
            <a:chOff x="2040080" y="1525430"/>
            <a:chExt cx="8111840" cy="2976713"/>
          </a:xfrm>
        </p:grpSpPr>
        <p:grpSp>
          <p:nvGrpSpPr>
            <p:cNvPr id="47" name="Group 46">
              <a:extLst>
                <a:ext uri="{FF2B5EF4-FFF2-40B4-BE49-F238E27FC236}">
                  <a16:creationId xmlns:a16="http://schemas.microsoft.com/office/drawing/2014/main" id="{0C12BD9B-D570-45C5-AE68-F6971447304C}"/>
                </a:ext>
              </a:extLst>
            </p:cNvPr>
            <p:cNvGrpSpPr/>
            <p:nvPr/>
          </p:nvGrpSpPr>
          <p:grpSpPr>
            <a:xfrm>
              <a:off x="2040080" y="1525430"/>
              <a:ext cx="8111840" cy="2976713"/>
              <a:chOff x="2040080" y="1525430"/>
              <a:chExt cx="8111840" cy="2976713"/>
            </a:xfrm>
          </p:grpSpPr>
          <p:pic>
            <p:nvPicPr>
              <p:cNvPr id="68" name="Picture 67">
                <a:hlinkClick r:id="rId4"/>
                <a:extLst>
                  <a:ext uri="{FF2B5EF4-FFF2-40B4-BE49-F238E27FC236}">
                    <a16:creationId xmlns:a16="http://schemas.microsoft.com/office/drawing/2014/main" id="{61A0F4C6-97D8-42B5-A9EB-3FC368251FD2}"/>
                  </a:ext>
                </a:extLst>
              </p:cNvPr>
              <p:cNvPicPr>
                <a:picLocks noChangeAspect="1"/>
              </p:cNvPicPr>
              <p:nvPr/>
            </p:nvPicPr>
            <p:blipFill>
              <a:blip r:embed="rId5"/>
              <a:stretch>
                <a:fillRect/>
              </a:stretch>
            </p:blipFill>
            <p:spPr>
              <a:xfrm>
                <a:off x="2040080" y="1525430"/>
                <a:ext cx="8111840" cy="2958163"/>
              </a:xfrm>
              <a:prstGeom prst="rect">
                <a:avLst/>
              </a:prstGeom>
              <a:solidFill>
                <a:schemeClr val="bg1">
                  <a:lumMod val="95000"/>
                  <a:alpha val="51000"/>
                </a:schemeClr>
              </a:solidFill>
              <a:ln>
                <a:noFill/>
              </a:ln>
            </p:spPr>
          </p:pic>
          <p:sp>
            <p:nvSpPr>
              <p:cNvPr id="70" name="Freeform: Shape 69">
                <a:extLst>
                  <a:ext uri="{FF2B5EF4-FFF2-40B4-BE49-F238E27FC236}">
                    <a16:creationId xmlns:a16="http://schemas.microsoft.com/office/drawing/2014/main" id="{C9C56AFE-4293-4FC9-ADDF-A558A5E9736C}"/>
                  </a:ext>
                </a:extLst>
              </p:cNvPr>
              <p:cNvSpPr/>
              <p:nvPr/>
            </p:nvSpPr>
            <p:spPr>
              <a:xfrm flipH="1">
                <a:off x="2115757" y="1666438"/>
                <a:ext cx="7927954" cy="2772547"/>
              </a:xfrm>
              <a:custGeom>
                <a:avLst/>
                <a:gdLst>
                  <a:gd name="connsiteX0" fmla="*/ 7450235 w 7927954"/>
                  <a:gd name="connsiteY0" fmla="*/ 2546259 h 2772547"/>
                  <a:gd name="connsiteX1" fmla="*/ 7340972 w 7927954"/>
                  <a:gd name="connsiteY1" fmla="*/ 2651315 h 2772547"/>
                  <a:gd name="connsiteX2" fmla="*/ 7450235 w 7927954"/>
                  <a:gd name="connsiteY2" fmla="*/ 2761829 h 2772547"/>
                  <a:gd name="connsiteX3" fmla="*/ 114966 w 7927954"/>
                  <a:gd name="connsiteY3" fmla="*/ 1980751 h 2772547"/>
                  <a:gd name="connsiteX4" fmla="*/ 34809 w 7927954"/>
                  <a:gd name="connsiteY4" fmla="*/ 1990299 h 2772547"/>
                  <a:gd name="connsiteX5" fmla="*/ 6176 w 7927954"/>
                  <a:gd name="connsiteY5" fmla="*/ 2040559 h 2772547"/>
                  <a:gd name="connsiteX6" fmla="*/ 799 w 7927954"/>
                  <a:gd name="connsiteY6" fmla="*/ 2410533 h 2772547"/>
                  <a:gd name="connsiteX7" fmla="*/ 42566 w 7927954"/>
                  <a:gd name="connsiteY7" fmla="*/ 2465353 h 2772547"/>
                  <a:gd name="connsiteX8" fmla="*/ 114966 w 7927954"/>
                  <a:gd name="connsiteY8" fmla="*/ 2482063 h 2772547"/>
                  <a:gd name="connsiteX9" fmla="*/ 114966 w 7927954"/>
                  <a:gd name="connsiteY9" fmla="*/ 1980751 h 2772547"/>
                  <a:gd name="connsiteX10" fmla="*/ 1121877 w 7927954"/>
                  <a:gd name="connsiteY10" fmla="*/ 195583 h 2772547"/>
                  <a:gd name="connsiteX11" fmla="*/ 1121877 w 7927954"/>
                  <a:gd name="connsiteY11" fmla="*/ 395591 h 2772547"/>
                  <a:gd name="connsiteX12" fmla="*/ 1077062 w 7927954"/>
                  <a:gd name="connsiteY12" fmla="*/ 395591 h 2772547"/>
                  <a:gd name="connsiteX13" fmla="*/ 1077062 w 7927954"/>
                  <a:gd name="connsiteY13" fmla="*/ 242575 h 2772547"/>
                  <a:gd name="connsiteX14" fmla="*/ 1101139 w 7927954"/>
                  <a:gd name="connsiteY14" fmla="*/ 226342 h 2772547"/>
                  <a:gd name="connsiteX15" fmla="*/ 2141118 w 7927954"/>
                  <a:gd name="connsiteY15" fmla="*/ 149186 h 2772547"/>
                  <a:gd name="connsiteX16" fmla="*/ 2141118 w 7927954"/>
                  <a:gd name="connsiteY16" fmla="*/ 395591 h 2772547"/>
                  <a:gd name="connsiteX17" fmla="*/ 2081558 w 7927954"/>
                  <a:gd name="connsiteY17" fmla="*/ 395591 h 2772547"/>
                  <a:gd name="connsiteX18" fmla="*/ 2081558 w 7927954"/>
                  <a:gd name="connsiteY18" fmla="*/ 242575 h 2772547"/>
                  <a:gd name="connsiteX19" fmla="*/ 2105635 w 7927954"/>
                  <a:gd name="connsiteY19" fmla="*/ 226342 h 2772547"/>
                  <a:gd name="connsiteX20" fmla="*/ 2134050 w 7927954"/>
                  <a:gd name="connsiteY20" fmla="*/ 184197 h 2772547"/>
                  <a:gd name="connsiteX21" fmla="*/ 6061014 w 7927954"/>
                  <a:gd name="connsiteY21" fmla="*/ 2998 h 2772547"/>
                  <a:gd name="connsiteX22" fmla="*/ 5938845 w 7927954"/>
                  <a:gd name="connsiteY22" fmla="*/ 83977 h 2772547"/>
                  <a:gd name="connsiteX23" fmla="*/ 5931858 w 7927954"/>
                  <a:gd name="connsiteY23" fmla="*/ 118587 h 2772547"/>
                  <a:gd name="connsiteX24" fmla="*/ 5182241 w 7927954"/>
                  <a:gd name="connsiteY24" fmla="*/ 118587 h 2772547"/>
                  <a:gd name="connsiteX25" fmla="*/ 5182241 w 7927954"/>
                  <a:gd name="connsiteY25" fmla="*/ 132727 h 2772547"/>
                  <a:gd name="connsiteX26" fmla="*/ 5182241 w 7927954"/>
                  <a:gd name="connsiteY26" fmla="*/ 2645346 h 2772547"/>
                  <a:gd name="connsiteX27" fmla="*/ 6124625 w 7927954"/>
                  <a:gd name="connsiteY27" fmla="*/ 2645346 h 2772547"/>
                  <a:gd name="connsiteX28" fmla="*/ 6124625 w 7927954"/>
                  <a:gd name="connsiteY28" fmla="*/ 2480880 h 2772547"/>
                  <a:gd name="connsiteX29" fmla="*/ 7618467 w 7927954"/>
                  <a:gd name="connsiteY29" fmla="*/ 2483253 h 2772547"/>
                  <a:gd name="connsiteX30" fmla="*/ 7898107 w 7927954"/>
                  <a:gd name="connsiteY30" fmla="*/ 2433325 h 2772547"/>
                  <a:gd name="connsiteX31" fmla="*/ 7888547 w 7927954"/>
                  <a:gd name="connsiteY31" fmla="*/ 1997555 h 2772547"/>
                  <a:gd name="connsiteX32" fmla="*/ 7628026 w 7927954"/>
                  <a:gd name="connsiteY32" fmla="*/ 1983132 h 2772547"/>
                  <a:gd name="connsiteX33" fmla="*/ 6124625 w 7927954"/>
                  <a:gd name="connsiteY33" fmla="*/ 1980758 h 2772547"/>
                  <a:gd name="connsiteX34" fmla="*/ 6124625 w 7927954"/>
                  <a:gd name="connsiteY34" fmla="*/ 1953870 h 2772547"/>
                  <a:gd name="connsiteX35" fmla="*/ 7618465 w 7927954"/>
                  <a:gd name="connsiteY35" fmla="*/ 1956243 h 2772547"/>
                  <a:gd name="connsiteX36" fmla="*/ 7898106 w 7927954"/>
                  <a:gd name="connsiteY36" fmla="*/ 1906315 h 2772547"/>
                  <a:gd name="connsiteX37" fmla="*/ 7888545 w 7927954"/>
                  <a:gd name="connsiteY37" fmla="*/ 1470545 h 2772547"/>
                  <a:gd name="connsiteX38" fmla="*/ 7628025 w 7927954"/>
                  <a:gd name="connsiteY38" fmla="*/ 1456122 h 2772547"/>
                  <a:gd name="connsiteX39" fmla="*/ 6124625 w 7927954"/>
                  <a:gd name="connsiteY39" fmla="*/ 1453748 h 2772547"/>
                  <a:gd name="connsiteX40" fmla="*/ 6124625 w 7927954"/>
                  <a:gd name="connsiteY40" fmla="*/ 1418315 h 2772547"/>
                  <a:gd name="connsiteX41" fmla="*/ 7618465 w 7927954"/>
                  <a:gd name="connsiteY41" fmla="*/ 1420688 h 2772547"/>
                  <a:gd name="connsiteX42" fmla="*/ 7898105 w 7927954"/>
                  <a:gd name="connsiteY42" fmla="*/ 1370760 h 2772547"/>
                  <a:gd name="connsiteX43" fmla="*/ 7888545 w 7927954"/>
                  <a:gd name="connsiteY43" fmla="*/ 934990 h 2772547"/>
                  <a:gd name="connsiteX44" fmla="*/ 7628024 w 7927954"/>
                  <a:gd name="connsiteY44" fmla="*/ 920567 h 2772547"/>
                  <a:gd name="connsiteX45" fmla="*/ 6124625 w 7927954"/>
                  <a:gd name="connsiteY45" fmla="*/ 918193 h 2772547"/>
                  <a:gd name="connsiteX46" fmla="*/ 6124625 w 7927954"/>
                  <a:gd name="connsiteY46" fmla="*/ 895714 h 2772547"/>
                  <a:gd name="connsiteX47" fmla="*/ 7620844 w 7927954"/>
                  <a:gd name="connsiteY47" fmla="*/ 898090 h 2772547"/>
                  <a:gd name="connsiteX48" fmla="*/ 7900485 w 7927954"/>
                  <a:gd name="connsiteY48" fmla="*/ 848162 h 2772547"/>
                  <a:gd name="connsiteX49" fmla="*/ 7890924 w 7927954"/>
                  <a:gd name="connsiteY49" fmla="*/ 412392 h 2772547"/>
                  <a:gd name="connsiteX50" fmla="*/ 7630403 w 7927954"/>
                  <a:gd name="connsiteY50" fmla="*/ 397969 h 2772547"/>
                  <a:gd name="connsiteX51" fmla="*/ 6124625 w 7927954"/>
                  <a:gd name="connsiteY51" fmla="*/ 395592 h 2772547"/>
                  <a:gd name="connsiteX52" fmla="*/ 6124625 w 7927954"/>
                  <a:gd name="connsiteY52" fmla="*/ 249662 h 2772547"/>
                  <a:gd name="connsiteX53" fmla="*/ 6154767 w 7927954"/>
                  <a:gd name="connsiteY53" fmla="*/ 229340 h 2772547"/>
                  <a:gd name="connsiteX54" fmla="*/ 6193601 w 7927954"/>
                  <a:gd name="connsiteY54" fmla="*/ 135586 h 2772547"/>
                  <a:gd name="connsiteX55" fmla="*/ 6061014 w 7927954"/>
                  <a:gd name="connsiteY55" fmla="*/ 2998 h 2772547"/>
                  <a:gd name="connsiteX56" fmla="*/ 5049653 w 7927954"/>
                  <a:gd name="connsiteY56" fmla="*/ 139 h 2772547"/>
                  <a:gd name="connsiteX57" fmla="*/ 4927485 w 7927954"/>
                  <a:gd name="connsiteY57" fmla="*/ 81118 h 2772547"/>
                  <a:gd name="connsiteX58" fmla="*/ 4919920 w 7927954"/>
                  <a:gd name="connsiteY58" fmla="*/ 118588 h 2772547"/>
                  <a:gd name="connsiteX59" fmla="*/ 4164860 w 7927954"/>
                  <a:gd name="connsiteY59" fmla="*/ 118588 h 2772547"/>
                  <a:gd name="connsiteX60" fmla="*/ 4164860 w 7927954"/>
                  <a:gd name="connsiteY60" fmla="*/ 2314679 h 2772547"/>
                  <a:gd name="connsiteX61" fmla="*/ 3965994 w 7927954"/>
                  <a:gd name="connsiteY61" fmla="*/ 2504661 h 2772547"/>
                  <a:gd name="connsiteX62" fmla="*/ 4231169 w 7927954"/>
                  <a:gd name="connsiteY62" fmla="*/ 2770503 h 2772547"/>
                  <a:gd name="connsiteX63" fmla="*/ 4231169 w 7927954"/>
                  <a:gd name="connsiteY63" fmla="*/ 2645347 h 2772547"/>
                  <a:gd name="connsiteX64" fmla="*/ 5124541 w 7927954"/>
                  <a:gd name="connsiteY64" fmla="*/ 2645347 h 2772547"/>
                  <a:gd name="connsiteX65" fmla="*/ 5124541 w 7927954"/>
                  <a:gd name="connsiteY65" fmla="*/ 2474079 h 2772547"/>
                  <a:gd name="connsiteX66" fmla="*/ 5181379 w 7927954"/>
                  <a:gd name="connsiteY66" fmla="*/ 2474079 h 2772547"/>
                  <a:gd name="connsiteX67" fmla="*/ 5181379 w 7927954"/>
                  <a:gd name="connsiteY67" fmla="*/ 395113 h 2772547"/>
                  <a:gd name="connsiteX68" fmla="*/ 5124541 w 7927954"/>
                  <a:gd name="connsiteY68" fmla="*/ 395113 h 2772547"/>
                  <a:gd name="connsiteX69" fmla="*/ 5124541 w 7927954"/>
                  <a:gd name="connsiteY69" fmla="*/ 239200 h 2772547"/>
                  <a:gd name="connsiteX70" fmla="*/ 5143407 w 7927954"/>
                  <a:gd name="connsiteY70" fmla="*/ 226481 h 2772547"/>
                  <a:gd name="connsiteX71" fmla="*/ 5182241 w 7927954"/>
                  <a:gd name="connsiteY71" fmla="*/ 132727 h 2772547"/>
                  <a:gd name="connsiteX72" fmla="*/ 5049653 w 7927954"/>
                  <a:gd name="connsiteY72" fmla="*/ 139 h 2772547"/>
                  <a:gd name="connsiteX73" fmla="*/ 2011881 w 7927954"/>
                  <a:gd name="connsiteY73" fmla="*/ 0 h 2772547"/>
                  <a:gd name="connsiteX74" fmla="*/ 1889713 w 7927954"/>
                  <a:gd name="connsiteY74" fmla="*/ 80979 h 2772547"/>
                  <a:gd name="connsiteX75" fmla="*/ 1882120 w 7927954"/>
                  <a:gd name="connsiteY75" fmla="*/ 118588 h 2772547"/>
                  <a:gd name="connsiteX76" fmla="*/ 1137147 w 7927954"/>
                  <a:gd name="connsiteY76" fmla="*/ 118588 h 2772547"/>
                  <a:gd name="connsiteX77" fmla="*/ 1129554 w 7927954"/>
                  <a:gd name="connsiteY77" fmla="*/ 80979 h 2772547"/>
                  <a:gd name="connsiteX78" fmla="*/ 1007385 w 7927954"/>
                  <a:gd name="connsiteY78" fmla="*/ 0 h 2772547"/>
                  <a:gd name="connsiteX79" fmla="*/ 885216 w 7927954"/>
                  <a:gd name="connsiteY79" fmla="*/ 80979 h 2772547"/>
                  <a:gd name="connsiteX80" fmla="*/ 877623 w 7927954"/>
                  <a:gd name="connsiteY80" fmla="*/ 118588 h 2772547"/>
                  <a:gd name="connsiteX81" fmla="*/ 117381 w 7927954"/>
                  <a:gd name="connsiteY81" fmla="*/ 118588 h 2772547"/>
                  <a:gd name="connsiteX82" fmla="*/ 117381 w 7927954"/>
                  <a:gd name="connsiteY82" fmla="*/ 398348 h 2772547"/>
                  <a:gd name="connsiteX83" fmla="*/ 40362 w 7927954"/>
                  <a:gd name="connsiteY83" fmla="*/ 407691 h 2772547"/>
                  <a:gd name="connsiteX84" fmla="*/ 11729 w 7927954"/>
                  <a:gd name="connsiteY84" fmla="*/ 458877 h 2772547"/>
                  <a:gd name="connsiteX85" fmla="*/ 6352 w 7927954"/>
                  <a:gd name="connsiteY85" fmla="*/ 835667 h 2772547"/>
                  <a:gd name="connsiteX86" fmla="*/ 48119 w 7927954"/>
                  <a:gd name="connsiteY86" fmla="*/ 891497 h 2772547"/>
                  <a:gd name="connsiteX87" fmla="*/ 117381 w 7927954"/>
                  <a:gd name="connsiteY87" fmla="*/ 907777 h 2772547"/>
                  <a:gd name="connsiteX88" fmla="*/ 117381 w 7927954"/>
                  <a:gd name="connsiteY88" fmla="*/ 918518 h 2772547"/>
                  <a:gd name="connsiteX89" fmla="*/ 39958 w 7927954"/>
                  <a:gd name="connsiteY89" fmla="*/ 927910 h 2772547"/>
                  <a:gd name="connsiteX90" fmla="*/ 11325 w 7927954"/>
                  <a:gd name="connsiteY90" fmla="*/ 979096 h 2772547"/>
                  <a:gd name="connsiteX91" fmla="*/ 5948 w 7927954"/>
                  <a:gd name="connsiteY91" fmla="*/ 1355887 h 2772547"/>
                  <a:gd name="connsiteX92" fmla="*/ 47715 w 7927954"/>
                  <a:gd name="connsiteY92" fmla="*/ 1411717 h 2772547"/>
                  <a:gd name="connsiteX93" fmla="*/ 117381 w 7927954"/>
                  <a:gd name="connsiteY93" fmla="*/ 1428091 h 2772547"/>
                  <a:gd name="connsiteX94" fmla="*/ 117381 w 7927954"/>
                  <a:gd name="connsiteY94" fmla="*/ 1454114 h 2772547"/>
                  <a:gd name="connsiteX95" fmla="*/ 40362 w 7927954"/>
                  <a:gd name="connsiteY95" fmla="*/ 1463266 h 2772547"/>
                  <a:gd name="connsiteX96" fmla="*/ 11729 w 7927954"/>
                  <a:gd name="connsiteY96" fmla="*/ 1513407 h 2772547"/>
                  <a:gd name="connsiteX97" fmla="*/ 6352 w 7927954"/>
                  <a:gd name="connsiteY97" fmla="*/ 1882503 h 2772547"/>
                  <a:gd name="connsiteX98" fmla="*/ 48119 w 7927954"/>
                  <a:gd name="connsiteY98" fmla="*/ 1937193 h 2772547"/>
                  <a:gd name="connsiteX99" fmla="*/ 117381 w 7927954"/>
                  <a:gd name="connsiteY99" fmla="*/ 1953141 h 2772547"/>
                  <a:gd name="connsiteX100" fmla="*/ 117381 w 7927954"/>
                  <a:gd name="connsiteY100" fmla="*/ 2645347 h 2772547"/>
                  <a:gd name="connsiteX101" fmla="*/ 1075951 w 7927954"/>
                  <a:gd name="connsiteY101" fmla="*/ 2645347 h 2772547"/>
                  <a:gd name="connsiteX102" fmla="*/ 1206143 w 7927954"/>
                  <a:gd name="connsiteY102" fmla="*/ 2772547 h 2772547"/>
                  <a:gd name="connsiteX103" fmla="*/ 1206143 w 7927954"/>
                  <a:gd name="connsiteY103" fmla="*/ 2645347 h 2772547"/>
                  <a:gd name="connsiteX104" fmla="*/ 2081558 w 7927954"/>
                  <a:gd name="connsiteY104" fmla="*/ 2645347 h 2772547"/>
                  <a:gd name="connsiteX105" fmla="*/ 2081558 w 7927954"/>
                  <a:gd name="connsiteY105" fmla="*/ 2641731 h 2772547"/>
                  <a:gd name="connsiteX106" fmla="*/ 2213360 w 7927954"/>
                  <a:gd name="connsiteY106" fmla="*/ 2770503 h 2772547"/>
                  <a:gd name="connsiteX107" fmla="*/ 2213360 w 7927954"/>
                  <a:gd name="connsiteY107" fmla="*/ 2645347 h 2772547"/>
                  <a:gd name="connsiteX108" fmla="*/ 3100799 w 7927954"/>
                  <a:gd name="connsiteY108" fmla="*/ 2645347 h 2772547"/>
                  <a:gd name="connsiteX109" fmla="*/ 3100799 w 7927954"/>
                  <a:gd name="connsiteY109" fmla="*/ 249429 h 2772547"/>
                  <a:gd name="connsiteX110" fmla="*/ 3130595 w 7927954"/>
                  <a:gd name="connsiteY110" fmla="*/ 229340 h 2772547"/>
                  <a:gd name="connsiteX111" fmla="*/ 3169429 w 7927954"/>
                  <a:gd name="connsiteY111" fmla="*/ 135586 h 2772547"/>
                  <a:gd name="connsiteX112" fmla="*/ 3036841 w 7927954"/>
                  <a:gd name="connsiteY112" fmla="*/ 2998 h 2772547"/>
                  <a:gd name="connsiteX113" fmla="*/ 2914673 w 7927954"/>
                  <a:gd name="connsiteY113" fmla="*/ 83977 h 2772547"/>
                  <a:gd name="connsiteX114" fmla="*/ 2907685 w 7927954"/>
                  <a:gd name="connsiteY114" fmla="*/ 118588 h 2772547"/>
                  <a:gd name="connsiteX115" fmla="*/ 2141643 w 7927954"/>
                  <a:gd name="connsiteY115" fmla="*/ 118588 h 2772547"/>
                  <a:gd name="connsiteX116" fmla="*/ 2134050 w 7927954"/>
                  <a:gd name="connsiteY116" fmla="*/ 80979 h 2772547"/>
                  <a:gd name="connsiteX117" fmla="*/ 2011881 w 7927954"/>
                  <a:gd name="connsiteY117" fmla="*/ 0 h 277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927954" h="2772547">
                    <a:moveTo>
                      <a:pt x="7450235" y="2546259"/>
                    </a:moveTo>
                    <a:lnTo>
                      <a:pt x="7340972" y="2651315"/>
                    </a:lnTo>
                    <a:lnTo>
                      <a:pt x="7450235" y="2761829"/>
                    </a:lnTo>
                    <a:close/>
                    <a:moveTo>
                      <a:pt x="114966" y="1980751"/>
                    </a:moveTo>
                    <a:lnTo>
                      <a:pt x="34809" y="1990299"/>
                    </a:lnTo>
                    <a:cubicBezTo>
                      <a:pt x="14681" y="1999471"/>
                      <a:pt x="16049" y="2008326"/>
                      <a:pt x="6176" y="2040559"/>
                    </a:cubicBezTo>
                    <a:cubicBezTo>
                      <a:pt x="3695" y="2097072"/>
                      <a:pt x="-2117" y="2331380"/>
                      <a:pt x="799" y="2410533"/>
                    </a:cubicBezTo>
                    <a:cubicBezTo>
                      <a:pt x="34671" y="2477752"/>
                      <a:pt x="24561" y="2448260"/>
                      <a:pt x="42566" y="2465353"/>
                    </a:cubicBezTo>
                    <a:lnTo>
                      <a:pt x="114966" y="2482063"/>
                    </a:lnTo>
                    <a:cubicBezTo>
                      <a:pt x="115069" y="2315754"/>
                      <a:pt x="114864" y="2147060"/>
                      <a:pt x="114966" y="1980751"/>
                    </a:cubicBezTo>
                    <a:close/>
                    <a:moveTo>
                      <a:pt x="1121877" y="195583"/>
                    </a:moveTo>
                    <a:lnTo>
                      <a:pt x="1121877" y="395591"/>
                    </a:lnTo>
                    <a:lnTo>
                      <a:pt x="1077062" y="395591"/>
                    </a:lnTo>
                    <a:lnTo>
                      <a:pt x="1077062" y="242575"/>
                    </a:lnTo>
                    <a:lnTo>
                      <a:pt x="1101139" y="226342"/>
                    </a:lnTo>
                    <a:close/>
                    <a:moveTo>
                      <a:pt x="2141118" y="149186"/>
                    </a:moveTo>
                    <a:lnTo>
                      <a:pt x="2141118" y="395591"/>
                    </a:lnTo>
                    <a:lnTo>
                      <a:pt x="2081558" y="395591"/>
                    </a:lnTo>
                    <a:lnTo>
                      <a:pt x="2081558" y="242575"/>
                    </a:lnTo>
                    <a:lnTo>
                      <a:pt x="2105635" y="226342"/>
                    </a:lnTo>
                    <a:cubicBezTo>
                      <a:pt x="2117632" y="214345"/>
                      <a:pt x="2127340" y="200060"/>
                      <a:pt x="2134050" y="184197"/>
                    </a:cubicBezTo>
                    <a:close/>
                    <a:moveTo>
                      <a:pt x="6061014" y="2998"/>
                    </a:moveTo>
                    <a:cubicBezTo>
                      <a:pt x="6006094" y="2998"/>
                      <a:pt x="5958973" y="36389"/>
                      <a:pt x="5938845" y="83977"/>
                    </a:cubicBezTo>
                    <a:lnTo>
                      <a:pt x="5931858" y="118587"/>
                    </a:lnTo>
                    <a:lnTo>
                      <a:pt x="5182241" y="118587"/>
                    </a:lnTo>
                    <a:lnTo>
                      <a:pt x="5182241" y="132727"/>
                    </a:lnTo>
                    <a:lnTo>
                      <a:pt x="5182241" y="2645346"/>
                    </a:lnTo>
                    <a:lnTo>
                      <a:pt x="6124625" y="2645346"/>
                    </a:lnTo>
                    <a:lnTo>
                      <a:pt x="6124625" y="2480880"/>
                    </a:lnTo>
                    <a:lnTo>
                      <a:pt x="7618467" y="2483253"/>
                    </a:lnTo>
                    <a:cubicBezTo>
                      <a:pt x="7898881" y="2466200"/>
                      <a:pt x="7852695" y="2512290"/>
                      <a:pt x="7898107" y="2433325"/>
                    </a:cubicBezTo>
                    <a:cubicBezTo>
                      <a:pt x="7943519" y="2354360"/>
                      <a:pt x="7927187" y="2053934"/>
                      <a:pt x="7888547" y="1997555"/>
                    </a:cubicBezTo>
                    <a:cubicBezTo>
                      <a:pt x="7734782" y="1965398"/>
                      <a:pt x="7941504" y="1992282"/>
                      <a:pt x="7628026" y="1983132"/>
                    </a:cubicBezTo>
                    <a:lnTo>
                      <a:pt x="6124625" y="1980758"/>
                    </a:lnTo>
                    <a:lnTo>
                      <a:pt x="6124625" y="1953870"/>
                    </a:lnTo>
                    <a:lnTo>
                      <a:pt x="7618465" y="1956243"/>
                    </a:lnTo>
                    <a:cubicBezTo>
                      <a:pt x="7898879" y="1939190"/>
                      <a:pt x="7852693" y="1985280"/>
                      <a:pt x="7898106" y="1906315"/>
                    </a:cubicBezTo>
                    <a:cubicBezTo>
                      <a:pt x="7943518" y="1827350"/>
                      <a:pt x="7927186" y="1526924"/>
                      <a:pt x="7888545" y="1470545"/>
                    </a:cubicBezTo>
                    <a:cubicBezTo>
                      <a:pt x="7734781" y="1438388"/>
                      <a:pt x="7941503" y="1465272"/>
                      <a:pt x="7628025" y="1456122"/>
                    </a:cubicBezTo>
                    <a:lnTo>
                      <a:pt x="6124625" y="1453748"/>
                    </a:lnTo>
                    <a:lnTo>
                      <a:pt x="6124625" y="1418315"/>
                    </a:lnTo>
                    <a:lnTo>
                      <a:pt x="7618465" y="1420688"/>
                    </a:lnTo>
                    <a:cubicBezTo>
                      <a:pt x="7898879" y="1403635"/>
                      <a:pt x="7852693" y="1449725"/>
                      <a:pt x="7898105" y="1370760"/>
                    </a:cubicBezTo>
                    <a:cubicBezTo>
                      <a:pt x="7943516" y="1291795"/>
                      <a:pt x="7927185" y="991369"/>
                      <a:pt x="7888545" y="934990"/>
                    </a:cubicBezTo>
                    <a:cubicBezTo>
                      <a:pt x="7734780" y="902833"/>
                      <a:pt x="7941502" y="929717"/>
                      <a:pt x="7628024" y="920567"/>
                    </a:cubicBezTo>
                    <a:lnTo>
                      <a:pt x="6124625" y="918193"/>
                    </a:lnTo>
                    <a:lnTo>
                      <a:pt x="6124625" y="895714"/>
                    </a:lnTo>
                    <a:lnTo>
                      <a:pt x="7620844" y="898090"/>
                    </a:lnTo>
                    <a:cubicBezTo>
                      <a:pt x="7901258" y="881037"/>
                      <a:pt x="7855072" y="927127"/>
                      <a:pt x="7900485" y="848162"/>
                    </a:cubicBezTo>
                    <a:cubicBezTo>
                      <a:pt x="7945897" y="769197"/>
                      <a:pt x="7929564" y="468771"/>
                      <a:pt x="7890924" y="412392"/>
                    </a:cubicBezTo>
                    <a:cubicBezTo>
                      <a:pt x="7737159" y="380235"/>
                      <a:pt x="7943881" y="407119"/>
                      <a:pt x="7630403" y="397969"/>
                    </a:cubicBezTo>
                    <a:lnTo>
                      <a:pt x="6124625" y="395592"/>
                    </a:lnTo>
                    <a:lnTo>
                      <a:pt x="6124625" y="249662"/>
                    </a:lnTo>
                    <a:lnTo>
                      <a:pt x="6154767" y="229340"/>
                    </a:lnTo>
                    <a:cubicBezTo>
                      <a:pt x="6178761" y="205346"/>
                      <a:pt x="6193601" y="172199"/>
                      <a:pt x="6193601" y="135586"/>
                    </a:cubicBezTo>
                    <a:cubicBezTo>
                      <a:pt x="6193601" y="62360"/>
                      <a:pt x="6134239" y="2998"/>
                      <a:pt x="6061014" y="2998"/>
                    </a:cubicBezTo>
                    <a:close/>
                    <a:moveTo>
                      <a:pt x="5049653" y="139"/>
                    </a:moveTo>
                    <a:cubicBezTo>
                      <a:pt x="4994734" y="139"/>
                      <a:pt x="4947613" y="33530"/>
                      <a:pt x="4927485" y="81118"/>
                    </a:cubicBezTo>
                    <a:lnTo>
                      <a:pt x="4919920" y="118588"/>
                    </a:lnTo>
                    <a:lnTo>
                      <a:pt x="4164860" y="118588"/>
                    </a:lnTo>
                    <a:lnTo>
                      <a:pt x="4164860" y="2314679"/>
                    </a:lnTo>
                    <a:lnTo>
                      <a:pt x="3965994" y="2504661"/>
                    </a:lnTo>
                    <a:lnTo>
                      <a:pt x="4231169" y="2770503"/>
                    </a:lnTo>
                    <a:lnTo>
                      <a:pt x="4231169" y="2645347"/>
                    </a:lnTo>
                    <a:lnTo>
                      <a:pt x="5124541" y="2645347"/>
                    </a:lnTo>
                    <a:lnTo>
                      <a:pt x="5124541" y="2474079"/>
                    </a:lnTo>
                    <a:lnTo>
                      <a:pt x="5181379" y="2474079"/>
                    </a:lnTo>
                    <a:lnTo>
                      <a:pt x="5181379" y="395113"/>
                    </a:lnTo>
                    <a:lnTo>
                      <a:pt x="5124541" y="395113"/>
                    </a:lnTo>
                    <a:lnTo>
                      <a:pt x="5124541" y="239200"/>
                    </a:lnTo>
                    <a:lnTo>
                      <a:pt x="5143407" y="226481"/>
                    </a:lnTo>
                    <a:cubicBezTo>
                      <a:pt x="5167401" y="202487"/>
                      <a:pt x="5182241" y="169340"/>
                      <a:pt x="5182241" y="132727"/>
                    </a:cubicBezTo>
                    <a:cubicBezTo>
                      <a:pt x="5182241" y="59501"/>
                      <a:pt x="5122879" y="139"/>
                      <a:pt x="5049653" y="139"/>
                    </a:cubicBezTo>
                    <a:close/>
                    <a:moveTo>
                      <a:pt x="2011881" y="0"/>
                    </a:moveTo>
                    <a:cubicBezTo>
                      <a:pt x="1956962" y="0"/>
                      <a:pt x="1909841" y="33391"/>
                      <a:pt x="1889713" y="80979"/>
                    </a:cubicBezTo>
                    <a:lnTo>
                      <a:pt x="1882120" y="118588"/>
                    </a:lnTo>
                    <a:lnTo>
                      <a:pt x="1137147" y="118588"/>
                    </a:lnTo>
                    <a:lnTo>
                      <a:pt x="1129554" y="80979"/>
                    </a:lnTo>
                    <a:cubicBezTo>
                      <a:pt x="1109426" y="33391"/>
                      <a:pt x="1062305" y="0"/>
                      <a:pt x="1007385" y="0"/>
                    </a:cubicBezTo>
                    <a:cubicBezTo>
                      <a:pt x="952465" y="0"/>
                      <a:pt x="905344" y="33391"/>
                      <a:pt x="885216" y="80979"/>
                    </a:cubicBezTo>
                    <a:lnTo>
                      <a:pt x="877623" y="118588"/>
                    </a:lnTo>
                    <a:lnTo>
                      <a:pt x="117381" y="118588"/>
                    </a:lnTo>
                    <a:lnTo>
                      <a:pt x="117381" y="398348"/>
                    </a:lnTo>
                    <a:lnTo>
                      <a:pt x="40362" y="407691"/>
                    </a:lnTo>
                    <a:cubicBezTo>
                      <a:pt x="20234" y="417031"/>
                      <a:pt x="21602" y="426049"/>
                      <a:pt x="11729" y="458877"/>
                    </a:cubicBezTo>
                    <a:cubicBezTo>
                      <a:pt x="9248" y="516431"/>
                      <a:pt x="3436" y="755056"/>
                      <a:pt x="6352" y="835667"/>
                    </a:cubicBezTo>
                    <a:cubicBezTo>
                      <a:pt x="40224" y="904123"/>
                      <a:pt x="30114" y="874088"/>
                      <a:pt x="48119" y="891497"/>
                    </a:cubicBezTo>
                    <a:lnTo>
                      <a:pt x="117381" y="907777"/>
                    </a:lnTo>
                    <a:lnTo>
                      <a:pt x="117381" y="918518"/>
                    </a:lnTo>
                    <a:lnTo>
                      <a:pt x="39958" y="927910"/>
                    </a:lnTo>
                    <a:cubicBezTo>
                      <a:pt x="19830" y="937250"/>
                      <a:pt x="21198" y="946269"/>
                      <a:pt x="11325" y="979096"/>
                    </a:cubicBezTo>
                    <a:cubicBezTo>
                      <a:pt x="8844" y="1036650"/>
                      <a:pt x="3032" y="1275275"/>
                      <a:pt x="5948" y="1355887"/>
                    </a:cubicBezTo>
                    <a:cubicBezTo>
                      <a:pt x="39820" y="1424343"/>
                      <a:pt x="29710" y="1394308"/>
                      <a:pt x="47715" y="1411717"/>
                    </a:cubicBezTo>
                    <a:lnTo>
                      <a:pt x="117381" y="1428091"/>
                    </a:lnTo>
                    <a:lnTo>
                      <a:pt x="117381" y="1454114"/>
                    </a:lnTo>
                    <a:lnTo>
                      <a:pt x="40362" y="1463266"/>
                    </a:lnTo>
                    <a:cubicBezTo>
                      <a:pt x="20234" y="1472416"/>
                      <a:pt x="21602" y="1481250"/>
                      <a:pt x="11729" y="1513407"/>
                    </a:cubicBezTo>
                    <a:cubicBezTo>
                      <a:pt x="9248" y="1569786"/>
                      <a:pt x="3436" y="1803538"/>
                      <a:pt x="6352" y="1882503"/>
                    </a:cubicBezTo>
                    <a:cubicBezTo>
                      <a:pt x="40224" y="1949562"/>
                      <a:pt x="30114" y="1920140"/>
                      <a:pt x="48119" y="1937193"/>
                    </a:cubicBezTo>
                    <a:lnTo>
                      <a:pt x="117381" y="1953141"/>
                    </a:lnTo>
                    <a:lnTo>
                      <a:pt x="117381" y="2645347"/>
                    </a:lnTo>
                    <a:lnTo>
                      <a:pt x="1075951" y="2645347"/>
                    </a:lnTo>
                    <a:lnTo>
                      <a:pt x="1206143" y="2772547"/>
                    </a:lnTo>
                    <a:lnTo>
                      <a:pt x="1206143" y="2645347"/>
                    </a:lnTo>
                    <a:lnTo>
                      <a:pt x="2081558" y="2645347"/>
                    </a:lnTo>
                    <a:lnTo>
                      <a:pt x="2081558" y="2641731"/>
                    </a:lnTo>
                    <a:lnTo>
                      <a:pt x="2213360" y="2770503"/>
                    </a:lnTo>
                    <a:lnTo>
                      <a:pt x="2213360" y="2645347"/>
                    </a:lnTo>
                    <a:lnTo>
                      <a:pt x="3100799" y="2645347"/>
                    </a:lnTo>
                    <a:lnTo>
                      <a:pt x="3100799" y="249429"/>
                    </a:lnTo>
                    <a:lnTo>
                      <a:pt x="3130595" y="229340"/>
                    </a:lnTo>
                    <a:cubicBezTo>
                      <a:pt x="3154589" y="205346"/>
                      <a:pt x="3169429" y="172199"/>
                      <a:pt x="3169429" y="135586"/>
                    </a:cubicBezTo>
                    <a:cubicBezTo>
                      <a:pt x="3169429" y="62360"/>
                      <a:pt x="3110067" y="2998"/>
                      <a:pt x="3036841" y="2998"/>
                    </a:cubicBezTo>
                    <a:cubicBezTo>
                      <a:pt x="2981922" y="2998"/>
                      <a:pt x="2934801" y="36389"/>
                      <a:pt x="2914673" y="83977"/>
                    </a:cubicBezTo>
                    <a:lnTo>
                      <a:pt x="2907685" y="118588"/>
                    </a:lnTo>
                    <a:lnTo>
                      <a:pt x="2141643" y="118588"/>
                    </a:lnTo>
                    <a:lnTo>
                      <a:pt x="2134050" y="80979"/>
                    </a:lnTo>
                    <a:cubicBezTo>
                      <a:pt x="2113922" y="33391"/>
                      <a:pt x="2066801" y="0"/>
                      <a:pt x="2011881" y="0"/>
                    </a:cubicBezTo>
                    <a:close/>
                  </a:path>
                </a:pathLst>
              </a:cu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73" name="Isosceles Triangle 72">
                <a:extLst>
                  <a:ext uri="{FF2B5EF4-FFF2-40B4-BE49-F238E27FC236}">
                    <a16:creationId xmlns:a16="http://schemas.microsoft.com/office/drawing/2014/main" id="{60644E75-838D-4155-BC19-DE4C36994992}"/>
                  </a:ext>
                </a:extLst>
              </p:cNvPr>
              <p:cNvSpPr/>
              <p:nvPr/>
            </p:nvSpPr>
            <p:spPr>
              <a:xfrm rot="5400000">
                <a:off x="6678706" y="4036800"/>
                <a:ext cx="535106" cy="265177"/>
              </a:xfrm>
              <a:prstGeom prst="triangle">
                <a:avLst>
                  <a:gd name="adj" fmla="val 48734"/>
                </a:avLst>
              </a:prstGeom>
              <a:solidFill>
                <a:srgbClr val="D258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74" name="Rectangle 73">
                <a:extLst>
                  <a:ext uri="{FF2B5EF4-FFF2-40B4-BE49-F238E27FC236}">
                    <a16:creationId xmlns:a16="http://schemas.microsoft.com/office/drawing/2014/main" id="{AD4FA88C-3B66-4E00-82A3-85FD683AD77C}"/>
                  </a:ext>
                </a:extLst>
              </p:cNvPr>
              <p:cNvSpPr/>
              <p:nvPr/>
            </p:nvSpPr>
            <p:spPr>
              <a:xfrm>
                <a:off x="2749850" y="4204107"/>
                <a:ext cx="927701" cy="298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48" name="Oval 47">
              <a:extLst>
                <a:ext uri="{FF2B5EF4-FFF2-40B4-BE49-F238E27FC236}">
                  <a16:creationId xmlns:a16="http://schemas.microsoft.com/office/drawing/2014/main" id="{A2B22874-C766-4818-B5D6-C84F5E29E3A1}"/>
                </a:ext>
              </a:extLst>
            </p:cNvPr>
            <p:cNvSpPr/>
            <p:nvPr/>
          </p:nvSpPr>
          <p:spPr>
            <a:xfrm>
              <a:off x="4856107" y="1664820"/>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9" name="Oval 48">
              <a:extLst>
                <a:ext uri="{FF2B5EF4-FFF2-40B4-BE49-F238E27FC236}">
                  <a16:creationId xmlns:a16="http://schemas.microsoft.com/office/drawing/2014/main" id="{E766019B-41D8-4C78-8ACE-9F9FFF12E8A4}"/>
                </a:ext>
              </a:extLst>
            </p:cNvPr>
            <p:cNvSpPr/>
            <p:nvPr/>
          </p:nvSpPr>
          <p:spPr>
            <a:xfrm>
              <a:off x="3851207" y="1662138"/>
              <a:ext cx="274368" cy="275105"/>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0" name="Oval 49">
              <a:extLst>
                <a:ext uri="{FF2B5EF4-FFF2-40B4-BE49-F238E27FC236}">
                  <a16:creationId xmlns:a16="http://schemas.microsoft.com/office/drawing/2014/main" id="{3B802196-F44D-41EA-8D79-FEC3B18A154A}"/>
                </a:ext>
              </a:extLst>
            </p:cNvPr>
            <p:cNvSpPr/>
            <p:nvPr/>
          </p:nvSpPr>
          <p:spPr>
            <a:xfrm>
              <a:off x="6876830" y="1665491"/>
              <a:ext cx="265176" cy="263588"/>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1" name="Oval 50">
              <a:extLst>
                <a:ext uri="{FF2B5EF4-FFF2-40B4-BE49-F238E27FC236}">
                  <a16:creationId xmlns:a16="http://schemas.microsoft.com/office/drawing/2014/main" id="{CD91A20C-E4A0-402D-9AA0-3D29CD4C3B15}"/>
                </a:ext>
              </a:extLst>
            </p:cNvPr>
            <p:cNvSpPr/>
            <p:nvPr/>
          </p:nvSpPr>
          <p:spPr>
            <a:xfrm>
              <a:off x="7899191" y="1663903"/>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3" name="Oval 52">
              <a:extLst>
                <a:ext uri="{FF2B5EF4-FFF2-40B4-BE49-F238E27FC236}">
                  <a16:creationId xmlns:a16="http://schemas.microsoft.com/office/drawing/2014/main" id="{F2B99E15-5AA7-4A10-B6A3-2BC37FE372AB}"/>
                </a:ext>
              </a:extLst>
            </p:cNvPr>
            <p:cNvSpPr/>
            <p:nvPr/>
          </p:nvSpPr>
          <p:spPr>
            <a:xfrm>
              <a:off x="8903215" y="1663903"/>
              <a:ext cx="274368" cy="277787"/>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89" name="Content Placeholder 2">
            <a:extLst>
              <a:ext uri="{FF2B5EF4-FFF2-40B4-BE49-F238E27FC236}">
                <a16:creationId xmlns:a16="http://schemas.microsoft.com/office/drawing/2014/main" id="{019A612A-AB8C-431B-B0DA-3667AE578003}"/>
              </a:ext>
            </a:extLst>
          </p:cNvPr>
          <p:cNvSpPr txBox="1">
            <a:spLocks/>
          </p:cNvSpPr>
          <p:nvPr/>
        </p:nvSpPr>
        <p:spPr>
          <a:xfrm>
            <a:off x="491273" y="3714419"/>
            <a:ext cx="1880880"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Inputs</a:t>
            </a:r>
            <a:endParaRPr kumimoji="0" lang="en-US" sz="11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0" name="Content Placeholder 2">
            <a:extLst>
              <a:ext uri="{FF2B5EF4-FFF2-40B4-BE49-F238E27FC236}">
                <a16:creationId xmlns:a16="http://schemas.microsoft.com/office/drawing/2014/main" id="{6F2419CD-C880-4267-BAFE-4CCDBC9BA2BD}"/>
              </a:ext>
            </a:extLst>
          </p:cNvPr>
          <p:cNvSpPr txBox="1">
            <a:spLocks/>
          </p:cNvSpPr>
          <p:nvPr/>
        </p:nvSpPr>
        <p:spPr>
          <a:xfrm>
            <a:off x="3681212" y="3714419"/>
            <a:ext cx="1743867"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Outputs</a:t>
            </a:r>
            <a:endParaRPr kumimoji="0" lang="en-US" sz="14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4" name="TextBox 93">
            <a:extLst>
              <a:ext uri="{FF2B5EF4-FFF2-40B4-BE49-F238E27FC236}">
                <a16:creationId xmlns:a16="http://schemas.microsoft.com/office/drawing/2014/main" id="{05BBD8C6-AB07-46B2-A075-F0818472B0EE}"/>
              </a:ext>
            </a:extLst>
          </p:cNvPr>
          <p:cNvSpPr txBox="1"/>
          <p:nvPr/>
        </p:nvSpPr>
        <p:spPr>
          <a:xfrm>
            <a:off x="7266248" y="6470392"/>
            <a:ext cx="4724400" cy="261610"/>
          </a:xfrm>
          <a:prstGeom prst="rect">
            <a:avLst/>
          </a:prstGeom>
          <a:noFill/>
        </p:spPr>
        <p:txBody>
          <a:bodyPr wrap="square" rtlCol="0">
            <a:spAutoFit/>
          </a:bodyPr>
          <a:lstStyle/>
          <a:p>
            <a:pPr algn="ctr"/>
            <a:r>
              <a:rPr lang="en-US" sz="1100" i="1" dirty="0">
                <a:solidFill>
                  <a:schemeClr val="bg1"/>
                </a:solidFill>
              </a:rPr>
              <a:t>- Last published June 2022 -</a:t>
            </a:r>
          </a:p>
        </p:txBody>
      </p:sp>
      <p:sp>
        <p:nvSpPr>
          <p:cNvPr id="62" name="TextBox 61">
            <a:extLst>
              <a:ext uri="{FF2B5EF4-FFF2-40B4-BE49-F238E27FC236}">
                <a16:creationId xmlns:a16="http://schemas.microsoft.com/office/drawing/2014/main" id="{8A3C6C48-0C83-4586-887B-1BB444483A89}"/>
              </a:ext>
            </a:extLst>
          </p:cNvPr>
          <p:cNvSpPr txBox="1"/>
          <p:nvPr/>
        </p:nvSpPr>
        <p:spPr>
          <a:xfrm>
            <a:off x="830821" y="3219380"/>
            <a:ext cx="1067042" cy="1958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1" u="none" strike="noStrike" kern="0" cap="none" spc="0" normalizeH="0" baseline="0" noProof="0">
                <a:ln>
                  <a:noFill/>
                </a:ln>
                <a:solidFill>
                  <a:srgbClr val="EEEEEE">
                    <a:lumMod val="50000"/>
                    <a:alpha val="72000"/>
                  </a:srgbClr>
                </a:solidFill>
                <a:effectLst/>
                <a:uLnTx/>
                <a:uFillTx/>
                <a:latin typeface="Arial"/>
                <a:cs typeface="Arial"/>
                <a:sym typeface="Arial"/>
              </a:rPr>
              <a:t>= Progress Review</a:t>
            </a:r>
          </a:p>
        </p:txBody>
      </p:sp>
      <p:grpSp>
        <p:nvGrpSpPr>
          <p:cNvPr id="12" name="Group 11">
            <a:extLst>
              <a:ext uri="{FF2B5EF4-FFF2-40B4-BE49-F238E27FC236}">
                <a16:creationId xmlns:a16="http://schemas.microsoft.com/office/drawing/2014/main" id="{61E8FF45-8D41-4E98-8ADD-52387FA8454C}"/>
              </a:ext>
            </a:extLst>
          </p:cNvPr>
          <p:cNvGrpSpPr/>
          <p:nvPr/>
        </p:nvGrpSpPr>
        <p:grpSpPr>
          <a:xfrm>
            <a:off x="7532488" y="1224812"/>
            <a:ext cx="4283149" cy="646331"/>
            <a:chOff x="7532488" y="1224812"/>
            <a:chExt cx="4283149" cy="646331"/>
          </a:xfrm>
        </p:grpSpPr>
        <p:pic>
          <p:nvPicPr>
            <p:cNvPr id="64" name="Picture 63">
              <a:extLst>
                <a:ext uri="{FF2B5EF4-FFF2-40B4-BE49-F238E27FC236}">
                  <a16:creationId xmlns:a16="http://schemas.microsoft.com/office/drawing/2014/main" id="{A7A84E65-A22A-4972-AEE5-7E0AA514E26F}"/>
                </a:ext>
              </a:extLst>
            </p:cNvPr>
            <p:cNvPicPr>
              <a:picLocks noChangeAspect="1"/>
            </p:cNvPicPr>
            <p:nvPr/>
          </p:nvPicPr>
          <p:blipFill>
            <a:blip r:embed="rId6"/>
            <a:stretch>
              <a:fillRect/>
            </a:stretch>
          </p:blipFill>
          <p:spPr>
            <a:xfrm>
              <a:off x="7532488" y="1369030"/>
              <a:ext cx="308187" cy="357895"/>
            </a:xfrm>
            <a:prstGeom prst="rect">
              <a:avLst/>
            </a:prstGeom>
          </p:spPr>
        </p:pic>
        <p:sp>
          <p:nvSpPr>
            <p:cNvPr id="91" name="TextBox 90">
              <a:extLst>
                <a:ext uri="{FF2B5EF4-FFF2-40B4-BE49-F238E27FC236}">
                  <a16:creationId xmlns:a16="http://schemas.microsoft.com/office/drawing/2014/main" id="{322C7B30-22C9-4DEB-8A92-26A84B590D51}"/>
                </a:ext>
              </a:extLst>
            </p:cNvPr>
            <p:cNvSpPr txBox="1"/>
            <p:nvPr/>
          </p:nvSpPr>
          <p:spPr>
            <a:xfrm>
              <a:off x="8216826" y="1224812"/>
              <a:ext cx="3598811"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Conduct due diligence to select a shared services provider based on capabilities, business requirements, and desired target end state </a:t>
              </a:r>
            </a:p>
          </p:txBody>
        </p:sp>
      </p:grpSp>
      <p:grpSp>
        <p:nvGrpSpPr>
          <p:cNvPr id="11" name="Group 10">
            <a:extLst>
              <a:ext uri="{FF2B5EF4-FFF2-40B4-BE49-F238E27FC236}">
                <a16:creationId xmlns:a16="http://schemas.microsoft.com/office/drawing/2014/main" id="{64BCF8D6-0E8B-4748-902A-A1E31D4B5FC5}"/>
              </a:ext>
            </a:extLst>
          </p:cNvPr>
          <p:cNvGrpSpPr/>
          <p:nvPr/>
        </p:nvGrpSpPr>
        <p:grpSpPr>
          <a:xfrm>
            <a:off x="7532488" y="1941370"/>
            <a:ext cx="4364160" cy="357895"/>
            <a:chOff x="7532488" y="1972148"/>
            <a:chExt cx="4364160" cy="357895"/>
          </a:xfrm>
        </p:grpSpPr>
        <p:pic>
          <p:nvPicPr>
            <p:cNvPr id="75" name="Picture 74">
              <a:extLst>
                <a:ext uri="{FF2B5EF4-FFF2-40B4-BE49-F238E27FC236}">
                  <a16:creationId xmlns:a16="http://schemas.microsoft.com/office/drawing/2014/main" id="{8C7A12BA-6F5C-438C-A74E-A7026198438B}"/>
                </a:ext>
              </a:extLst>
            </p:cNvPr>
            <p:cNvPicPr>
              <a:picLocks noChangeAspect="1"/>
            </p:cNvPicPr>
            <p:nvPr/>
          </p:nvPicPr>
          <p:blipFill>
            <a:blip r:embed="rId6"/>
            <a:stretch>
              <a:fillRect/>
            </a:stretch>
          </p:blipFill>
          <p:spPr>
            <a:xfrm>
              <a:off x="7532488" y="1972148"/>
              <a:ext cx="308187" cy="357895"/>
            </a:xfrm>
            <a:prstGeom prst="rect">
              <a:avLst/>
            </a:prstGeom>
          </p:spPr>
        </p:pic>
        <p:sp>
          <p:nvSpPr>
            <p:cNvPr id="93" name="TextBox 92">
              <a:extLst>
                <a:ext uri="{FF2B5EF4-FFF2-40B4-BE49-F238E27FC236}">
                  <a16:creationId xmlns:a16="http://schemas.microsoft.com/office/drawing/2014/main" id="{0364DFD9-E70F-4A01-92A7-BFB870AAD859}"/>
                </a:ext>
              </a:extLst>
            </p:cNvPr>
            <p:cNvSpPr txBox="1"/>
            <p:nvPr/>
          </p:nvSpPr>
          <p:spPr>
            <a:xfrm>
              <a:off x="8216827" y="2012596"/>
              <a:ext cx="3679821" cy="276999"/>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Monitor and report on program progress</a:t>
              </a:r>
            </a:p>
          </p:txBody>
        </p:sp>
      </p:grpSp>
      <p:grpSp>
        <p:nvGrpSpPr>
          <p:cNvPr id="10" name="Group 9">
            <a:extLst>
              <a:ext uri="{FF2B5EF4-FFF2-40B4-BE49-F238E27FC236}">
                <a16:creationId xmlns:a16="http://schemas.microsoft.com/office/drawing/2014/main" id="{14401374-7AEE-477D-8A84-51ACE7F922EB}"/>
              </a:ext>
            </a:extLst>
          </p:cNvPr>
          <p:cNvGrpSpPr/>
          <p:nvPr/>
        </p:nvGrpSpPr>
        <p:grpSpPr>
          <a:xfrm>
            <a:off x="7532488" y="2369492"/>
            <a:ext cx="4283150" cy="461665"/>
            <a:chOff x="7532488" y="2431048"/>
            <a:chExt cx="4283150" cy="461665"/>
          </a:xfrm>
        </p:grpSpPr>
        <p:pic>
          <p:nvPicPr>
            <p:cNvPr id="82" name="Picture 81">
              <a:extLst>
                <a:ext uri="{FF2B5EF4-FFF2-40B4-BE49-F238E27FC236}">
                  <a16:creationId xmlns:a16="http://schemas.microsoft.com/office/drawing/2014/main" id="{1AC50157-A432-44DD-8B4B-442013C8FB74}"/>
                </a:ext>
              </a:extLst>
            </p:cNvPr>
            <p:cNvPicPr>
              <a:picLocks noChangeAspect="1"/>
            </p:cNvPicPr>
            <p:nvPr/>
          </p:nvPicPr>
          <p:blipFill>
            <a:blip r:embed="rId6"/>
            <a:stretch>
              <a:fillRect/>
            </a:stretch>
          </p:blipFill>
          <p:spPr>
            <a:xfrm>
              <a:off x="7532488" y="2482933"/>
              <a:ext cx="308187" cy="357895"/>
            </a:xfrm>
            <a:prstGeom prst="rect">
              <a:avLst/>
            </a:prstGeom>
          </p:spPr>
        </p:pic>
        <p:sp>
          <p:nvSpPr>
            <p:cNvPr id="95" name="TextBox 94">
              <a:extLst>
                <a:ext uri="{FF2B5EF4-FFF2-40B4-BE49-F238E27FC236}">
                  <a16:creationId xmlns:a16="http://schemas.microsoft.com/office/drawing/2014/main" id="{DB5F750C-82C1-4937-9637-1703DCC9C5F1}"/>
                </a:ext>
              </a:extLst>
            </p:cNvPr>
            <p:cNvSpPr txBox="1"/>
            <p:nvPr/>
          </p:nvSpPr>
          <p:spPr>
            <a:xfrm>
              <a:off x="8216828" y="2431048"/>
              <a:ext cx="3598810"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Execute risk management processes to identify and mitigate risks and issues throughout migration</a:t>
              </a:r>
            </a:p>
          </p:txBody>
        </p:sp>
      </p:grpSp>
      <p:grpSp>
        <p:nvGrpSpPr>
          <p:cNvPr id="9" name="Group 8">
            <a:extLst>
              <a:ext uri="{FF2B5EF4-FFF2-40B4-BE49-F238E27FC236}">
                <a16:creationId xmlns:a16="http://schemas.microsoft.com/office/drawing/2014/main" id="{FBB0D0F6-3912-4CDC-9992-4D0153D9C508}"/>
              </a:ext>
            </a:extLst>
          </p:cNvPr>
          <p:cNvGrpSpPr/>
          <p:nvPr/>
        </p:nvGrpSpPr>
        <p:grpSpPr>
          <a:xfrm>
            <a:off x="7470812" y="2901384"/>
            <a:ext cx="4455239" cy="461665"/>
            <a:chOff x="7470812" y="2993718"/>
            <a:chExt cx="4455239" cy="461665"/>
          </a:xfrm>
        </p:grpSpPr>
        <p:pic>
          <p:nvPicPr>
            <p:cNvPr id="84" name="Picture 83">
              <a:extLst>
                <a:ext uri="{FF2B5EF4-FFF2-40B4-BE49-F238E27FC236}">
                  <a16:creationId xmlns:a16="http://schemas.microsoft.com/office/drawing/2014/main" id="{4430A17A-3D5D-47C2-8B77-41330703A5F5}"/>
                </a:ext>
              </a:extLst>
            </p:cNvPr>
            <p:cNvPicPr>
              <a:picLocks noChangeAspect="1"/>
            </p:cNvPicPr>
            <p:nvPr/>
          </p:nvPicPr>
          <p:blipFill>
            <a:blip r:embed="rId7"/>
            <a:stretch>
              <a:fillRect/>
            </a:stretch>
          </p:blipFill>
          <p:spPr>
            <a:xfrm>
              <a:off x="7470812" y="3043906"/>
              <a:ext cx="431538" cy="361288"/>
            </a:xfrm>
            <a:prstGeom prst="rect">
              <a:avLst/>
            </a:prstGeom>
          </p:spPr>
        </p:pic>
        <p:sp>
          <p:nvSpPr>
            <p:cNvPr id="96" name="TextBox 95">
              <a:extLst>
                <a:ext uri="{FF2B5EF4-FFF2-40B4-BE49-F238E27FC236}">
                  <a16:creationId xmlns:a16="http://schemas.microsoft.com/office/drawing/2014/main" id="{C8FBCB51-2267-4725-A3F9-22F4ADA95944}"/>
                </a:ext>
              </a:extLst>
            </p:cNvPr>
            <p:cNvSpPr txBox="1"/>
            <p:nvPr/>
          </p:nvSpPr>
          <p:spPr>
            <a:xfrm>
              <a:off x="8251967" y="2993718"/>
              <a:ext cx="3674084"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Design labor relations outreach strategy and engage with unions </a:t>
              </a:r>
            </a:p>
          </p:txBody>
        </p:sp>
      </p:grpSp>
      <p:grpSp>
        <p:nvGrpSpPr>
          <p:cNvPr id="3" name="Group 2">
            <a:extLst>
              <a:ext uri="{FF2B5EF4-FFF2-40B4-BE49-F238E27FC236}">
                <a16:creationId xmlns:a16="http://schemas.microsoft.com/office/drawing/2014/main" id="{6F4F19D1-A80C-4D1F-8D1E-82A5B284D37F}"/>
              </a:ext>
            </a:extLst>
          </p:cNvPr>
          <p:cNvGrpSpPr/>
          <p:nvPr/>
        </p:nvGrpSpPr>
        <p:grpSpPr>
          <a:xfrm>
            <a:off x="7470812" y="3433276"/>
            <a:ext cx="4455239" cy="830997"/>
            <a:chOff x="7470812" y="3556388"/>
            <a:chExt cx="4455239" cy="830997"/>
          </a:xfrm>
        </p:grpSpPr>
        <p:pic>
          <p:nvPicPr>
            <p:cNvPr id="88" name="Picture 87">
              <a:extLst>
                <a:ext uri="{FF2B5EF4-FFF2-40B4-BE49-F238E27FC236}">
                  <a16:creationId xmlns:a16="http://schemas.microsoft.com/office/drawing/2014/main" id="{E4358D3E-A118-4ACF-BC5C-AE341B8064CA}"/>
                </a:ext>
              </a:extLst>
            </p:cNvPr>
            <p:cNvPicPr>
              <a:picLocks noChangeAspect="1"/>
            </p:cNvPicPr>
            <p:nvPr/>
          </p:nvPicPr>
          <p:blipFill>
            <a:blip r:embed="rId7"/>
            <a:stretch>
              <a:fillRect/>
            </a:stretch>
          </p:blipFill>
          <p:spPr>
            <a:xfrm>
              <a:off x="7470812" y="3698909"/>
              <a:ext cx="431538" cy="361288"/>
            </a:xfrm>
            <a:prstGeom prst="rect">
              <a:avLst/>
            </a:prstGeom>
          </p:spPr>
        </p:pic>
        <p:sp>
          <p:nvSpPr>
            <p:cNvPr id="97" name="TextBox 96">
              <a:extLst>
                <a:ext uri="{FF2B5EF4-FFF2-40B4-BE49-F238E27FC236}">
                  <a16:creationId xmlns:a16="http://schemas.microsoft.com/office/drawing/2014/main" id="{94441039-EE37-4842-BC92-F06ED7427509}"/>
                </a:ext>
              </a:extLst>
            </p:cNvPr>
            <p:cNvSpPr txBox="1"/>
            <p:nvPr/>
          </p:nvSpPr>
          <p:spPr>
            <a:xfrm>
              <a:off x="8251967" y="3556388"/>
              <a:ext cx="3674084" cy="830997"/>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Update Change Management Plan based on selected shared services provider and deliver communications to engage stakeholders prior to the migration</a:t>
              </a:r>
            </a:p>
          </p:txBody>
        </p:sp>
      </p:grpSp>
      <p:grpSp>
        <p:nvGrpSpPr>
          <p:cNvPr id="4" name="Group 3">
            <a:extLst>
              <a:ext uri="{FF2B5EF4-FFF2-40B4-BE49-F238E27FC236}">
                <a16:creationId xmlns:a16="http://schemas.microsoft.com/office/drawing/2014/main" id="{E3A07DDB-9670-427A-833C-9BC41739C561}"/>
              </a:ext>
            </a:extLst>
          </p:cNvPr>
          <p:cNvGrpSpPr/>
          <p:nvPr/>
        </p:nvGrpSpPr>
        <p:grpSpPr>
          <a:xfrm>
            <a:off x="7508396" y="4334501"/>
            <a:ext cx="4398863" cy="356370"/>
            <a:chOff x="7508396" y="4303724"/>
            <a:chExt cx="4398863" cy="356370"/>
          </a:xfrm>
        </p:grpSpPr>
        <p:pic>
          <p:nvPicPr>
            <p:cNvPr id="87" name="Picture 86">
              <a:extLst>
                <a:ext uri="{FF2B5EF4-FFF2-40B4-BE49-F238E27FC236}">
                  <a16:creationId xmlns:a16="http://schemas.microsoft.com/office/drawing/2014/main" id="{ED1E3130-BA40-4E9B-9512-51404A0931E0}"/>
                </a:ext>
              </a:extLst>
            </p:cNvPr>
            <p:cNvPicPr>
              <a:picLocks noChangeAspect="1"/>
            </p:cNvPicPr>
            <p:nvPr/>
          </p:nvPicPr>
          <p:blipFill>
            <a:blip r:embed="rId8"/>
            <a:stretch>
              <a:fillRect/>
            </a:stretch>
          </p:blipFill>
          <p:spPr>
            <a:xfrm>
              <a:off x="7508396" y="4303724"/>
              <a:ext cx="356370" cy="356370"/>
            </a:xfrm>
            <a:prstGeom prst="rect">
              <a:avLst/>
            </a:prstGeom>
          </p:spPr>
        </p:pic>
        <p:sp>
          <p:nvSpPr>
            <p:cNvPr id="98" name="TextBox 97">
              <a:extLst>
                <a:ext uri="{FF2B5EF4-FFF2-40B4-BE49-F238E27FC236}">
                  <a16:creationId xmlns:a16="http://schemas.microsoft.com/office/drawing/2014/main" id="{E1C94304-9029-4631-97B9-C8BF6279614C}"/>
                </a:ext>
              </a:extLst>
            </p:cNvPr>
            <p:cNvSpPr txBox="1"/>
            <p:nvPr/>
          </p:nvSpPr>
          <p:spPr>
            <a:xfrm>
              <a:off x="8233176" y="4343410"/>
              <a:ext cx="3674083" cy="276999"/>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Conduct initial data cleansing activities </a:t>
              </a:r>
            </a:p>
          </p:txBody>
        </p:sp>
      </p:grpSp>
      <p:grpSp>
        <p:nvGrpSpPr>
          <p:cNvPr id="8" name="Group 7">
            <a:extLst>
              <a:ext uri="{FF2B5EF4-FFF2-40B4-BE49-F238E27FC236}">
                <a16:creationId xmlns:a16="http://schemas.microsoft.com/office/drawing/2014/main" id="{6E999524-7725-498E-BDB0-79D9C75C7ACA}"/>
              </a:ext>
            </a:extLst>
          </p:cNvPr>
          <p:cNvGrpSpPr/>
          <p:nvPr/>
        </p:nvGrpSpPr>
        <p:grpSpPr>
          <a:xfrm>
            <a:off x="7426663" y="4761100"/>
            <a:ext cx="4341955" cy="830997"/>
            <a:chOff x="7426663" y="4761100"/>
            <a:chExt cx="4341955" cy="830997"/>
          </a:xfrm>
        </p:grpSpPr>
        <p:pic>
          <p:nvPicPr>
            <p:cNvPr id="86" name="Picture 85">
              <a:extLst>
                <a:ext uri="{FF2B5EF4-FFF2-40B4-BE49-F238E27FC236}">
                  <a16:creationId xmlns:a16="http://schemas.microsoft.com/office/drawing/2014/main" id="{B64608C1-80AE-4C42-926B-99ADC240AE22}"/>
                </a:ext>
              </a:extLst>
            </p:cNvPr>
            <p:cNvPicPr>
              <a:picLocks noChangeAspect="1"/>
            </p:cNvPicPr>
            <p:nvPr/>
          </p:nvPicPr>
          <p:blipFill>
            <a:blip r:embed="rId9"/>
            <a:stretch>
              <a:fillRect/>
            </a:stretch>
          </p:blipFill>
          <p:spPr>
            <a:xfrm>
              <a:off x="7426663" y="4993126"/>
              <a:ext cx="519837" cy="366944"/>
            </a:xfrm>
            <a:prstGeom prst="rect">
              <a:avLst/>
            </a:prstGeom>
          </p:spPr>
        </p:pic>
        <p:sp>
          <p:nvSpPr>
            <p:cNvPr id="99" name="TextBox 98">
              <a:extLst>
                <a:ext uri="{FF2B5EF4-FFF2-40B4-BE49-F238E27FC236}">
                  <a16:creationId xmlns:a16="http://schemas.microsoft.com/office/drawing/2014/main" id="{5550A6E3-A396-4AE0-92E7-D029C828D7F2}"/>
                </a:ext>
              </a:extLst>
            </p:cNvPr>
            <p:cNvSpPr txBox="1"/>
            <p:nvPr/>
          </p:nvSpPr>
          <p:spPr>
            <a:xfrm>
              <a:off x="8274043" y="4761100"/>
              <a:ext cx="3494575" cy="830997"/>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Understand as-is business processes including the current state environment, existing challenges, and opportunities for improvement / standardization</a:t>
              </a:r>
            </a:p>
          </p:txBody>
        </p:sp>
      </p:grpSp>
    </p:spTree>
    <p:extLst>
      <p:ext uri="{BB962C8B-B14F-4D97-AF65-F5344CB8AC3E}">
        <p14:creationId xmlns:p14="http://schemas.microsoft.com/office/powerpoint/2010/main" val="953529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A4B8B6C-E453-44B2-BED9-F2B8F1C6B388}"/>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rgbClr val="005087"/>
                </a:solidFill>
                <a:effectLst/>
                <a:uLnTx/>
                <a:uFillTx/>
                <a:latin typeface="Arial"/>
                <a:ea typeface="+mn-ea"/>
                <a:cs typeface="Arial"/>
                <a:sym typeface="Arial"/>
              </a:rPr>
              <a:t>M3 Playbook Orientation</a:t>
            </a:r>
          </a:p>
        </p:txBody>
      </p:sp>
      <p:sp>
        <p:nvSpPr>
          <p:cNvPr id="7" name="Rectangle 6">
            <a:extLst>
              <a:ext uri="{FF2B5EF4-FFF2-40B4-BE49-F238E27FC236}">
                <a16:creationId xmlns:a16="http://schemas.microsoft.com/office/drawing/2014/main" id="{F8D9F48C-B974-4E58-81D1-F07412FA1BE0}"/>
              </a:ext>
            </a:extLst>
          </p:cNvPr>
          <p:cNvSpPr/>
          <p:nvPr/>
        </p:nvSpPr>
        <p:spPr>
          <a:xfrm>
            <a:off x="1" y="637309"/>
            <a:ext cx="12192000" cy="7342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6" name="Rectangle 5">
            <a:extLst>
              <a:ext uri="{FF2B5EF4-FFF2-40B4-BE49-F238E27FC236}">
                <a16:creationId xmlns:a16="http://schemas.microsoft.com/office/drawing/2014/main" id="{1CC0A8EB-F9AC-4923-AE21-A55C603C69D3}"/>
              </a:ext>
            </a:extLst>
          </p:cNvPr>
          <p:cNvSpPr/>
          <p:nvPr/>
        </p:nvSpPr>
        <p:spPr>
          <a:xfrm>
            <a:off x="406400" y="6222434"/>
            <a:ext cx="1498600" cy="5191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2" name="Slide Number Placeholder 1">
            <a:extLst>
              <a:ext uri="{FF2B5EF4-FFF2-40B4-BE49-F238E27FC236}">
                <a16:creationId xmlns:a16="http://schemas.microsoft.com/office/drawing/2014/main" id="{E4E69418-64B3-4294-A148-8D4EB9083D1E}"/>
              </a:ext>
            </a:extLst>
          </p:cNvPr>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rgbClr val="005087"/>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 sz="1200" b="1" i="0" u="none" strike="noStrike" kern="0" cap="none" spc="0" normalizeH="0" baseline="0" noProof="0">
              <a:ln>
                <a:noFill/>
              </a:ln>
              <a:solidFill>
                <a:srgbClr val="005087"/>
              </a:solidFill>
              <a:effectLst/>
              <a:uLnTx/>
              <a:uFillTx/>
              <a:latin typeface="Arial"/>
              <a:cs typeface="Arial"/>
              <a:sym typeface="Arial"/>
            </a:endParaRPr>
          </a:p>
        </p:txBody>
      </p:sp>
      <p:pic>
        <p:nvPicPr>
          <p:cNvPr id="15" name="Google Shape;218;p1">
            <a:extLst>
              <a:ext uri="{FF2B5EF4-FFF2-40B4-BE49-F238E27FC236}">
                <a16:creationId xmlns:a16="http://schemas.microsoft.com/office/drawing/2014/main" id="{91ED7232-D122-409D-B18E-04AC470A4096}"/>
              </a:ext>
            </a:extLst>
          </p:cNvPr>
          <p:cNvPicPr preferRelativeResize="0"/>
          <p:nvPr/>
        </p:nvPicPr>
        <p:blipFill rotWithShape="1">
          <a:blip r:embed="rId3">
            <a:alphaModFix/>
          </a:blip>
          <a:srcRect/>
          <a:stretch/>
        </p:blipFill>
        <p:spPr>
          <a:xfrm>
            <a:off x="2" y="253"/>
            <a:ext cx="4031192" cy="6864296"/>
          </a:xfrm>
          <a:prstGeom prst="rect">
            <a:avLst/>
          </a:prstGeom>
          <a:noFill/>
          <a:ln>
            <a:noFill/>
          </a:ln>
        </p:spPr>
      </p:pic>
      <p:sp>
        <p:nvSpPr>
          <p:cNvPr id="17" name="TextBox 16">
            <a:extLst>
              <a:ext uri="{FF2B5EF4-FFF2-40B4-BE49-F238E27FC236}">
                <a16:creationId xmlns:a16="http://schemas.microsoft.com/office/drawing/2014/main" id="{0CC83043-0F78-4460-8AE0-AD92DBEA38D4}"/>
              </a:ext>
            </a:extLst>
          </p:cNvPr>
          <p:cNvSpPr txBox="1"/>
          <p:nvPr/>
        </p:nvSpPr>
        <p:spPr>
          <a:xfrm>
            <a:off x="138323" y="2905780"/>
            <a:ext cx="3754548" cy="52322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rgbClr val="FFFFFF"/>
                </a:solidFill>
                <a:effectLst/>
                <a:uLnTx/>
                <a:uFillTx/>
                <a:latin typeface="+mn-lt"/>
                <a:cs typeface="Calibri" panose="020F0502020204030204" pitchFamily="34" charset="0"/>
              </a:rPr>
              <a:t>Table of Contents</a:t>
            </a:r>
            <a:endParaRPr kumimoji="0" lang="en-US" sz="2800" b="0" i="0" u="none" strike="noStrike" kern="0" cap="none" spc="0" normalizeH="0" baseline="0" noProof="0">
              <a:ln>
                <a:noFill/>
              </a:ln>
              <a:solidFill>
                <a:sysClr val="windowText" lastClr="000000"/>
              </a:solidFill>
              <a:effectLst/>
              <a:uLnTx/>
              <a:uFillTx/>
              <a:latin typeface="+mn-lt"/>
            </a:endParaRPr>
          </a:p>
        </p:txBody>
      </p:sp>
      <p:pic>
        <p:nvPicPr>
          <p:cNvPr id="19" name="Picture 18">
            <a:extLst>
              <a:ext uri="{FF2B5EF4-FFF2-40B4-BE49-F238E27FC236}">
                <a16:creationId xmlns:a16="http://schemas.microsoft.com/office/drawing/2014/main" id="{0C69F324-8286-4D7D-A4B0-A213EE3E2D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51368" y="1868464"/>
            <a:ext cx="928459" cy="928459"/>
          </a:xfrm>
          <a:prstGeom prst="rect">
            <a:avLst/>
          </a:prstGeom>
        </p:spPr>
      </p:pic>
      <p:cxnSp>
        <p:nvCxnSpPr>
          <p:cNvPr id="20" name="Straight Connector 19">
            <a:extLst>
              <a:ext uri="{FF2B5EF4-FFF2-40B4-BE49-F238E27FC236}">
                <a16:creationId xmlns:a16="http://schemas.microsoft.com/office/drawing/2014/main" id="{220DCA5F-AA4F-4088-A450-39C50F33E58A}"/>
              </a:ext>
            </a:extLst>
          </p:cNvPr>
          <p:cNvCxnSpPr>
            <a:cxnSpLocks/>
          </p:cNvCxnSpPr>
          <p:nvPr/>
        </p:nvCxnSpPr>
        <p:spPr>
          <a:xfrm>
            <a:off x="4031194" y="1065712"/>
            <a:ext cx="8173080" cy="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3C05B37-D7B4-4008-913C-872DC58FC04B}"/>
              </a:ext>
            </a:extLst>
          </p:cNvPr>
          <p:cNvSpPr txBox="1"/>
          <p:nvPr/>
        </p:nvSpPr>
        <p:spPr>
          <a:xfrm>
            <a:off x="5715000" y="6480023"/>
            <a:ext cx="4724400" cy="261610"/>
          </a:xfrm>
          <a:prstGeom prst="rect">
            <a:avLst/>
          </a:prstGeom>
          <a:noFill/>
        </p:spPr>
        <p:txBody>
          <a:bodyPr wrap="square" rtlCol="0">
            <a:spAutoFit/>
          </a:bodyPr>
          <a:lstStyle/>
          <a:p>
            <a:pPr algn="ctr"/>
            <a:r>
              <a:rPr lang="en-US" sz="1100" i="1" dirty="0">
                <a:solidFill>
                  <a:schemeClr val="tx1"/>
                </a:solidFill>
              </a:rPr>
              <a:t>- Last published June 2022 -</a:t>
            </a:r>
          </a:p>
        </p:txBody>
      </p:sp>
      <p:sp>
        <p:nvSpPr>
          <p:cNvPr id="8" name="TextBox 7">
            <a:extLst>
              <a:ext uri="{FF2B5EF4-FFF2-40B4-BE49-F238E27FC236}">
                <a16:creationId xmlns:a16="http://schemas.microsoft.com/office/drawing/2014/main" id="{2F94B590-BB1C-4514-9618-418171F7ABD9}"/>
              </a:ext>
            </a:extLst>
          </p:cNvPr>
          <p:cNvSpPr txBox="1"/>
          <p:nvPr/>
        </p:nvSpPr>
        <p:spPr>
          <a:xfrm>
            <a:off x="4653040" y="1460017"/>
            <a:ext cx="7551233" cy="4653133"/>
          </a:xfrm>
          <a:prstGeom prst="rect">
            <a:avLst/>
          </a:prstGeom>
          <a:noFill/>
        </p:spPr>
        <p:txBody>
          <a:bodyPr wrap="square" rtlCol="0">
            <a:spAutoFit/>
          </a:bodyPr>
          <a:lstStyle/>
          <a:p>
            <a:pPr marL="342900" marR="0" indent="-640080">
              <a:lnSpc>
                <a:spcPct val="107000"/>
              </a:lnSpc>
              <a:spcBef>
                <a:spcPts val="0"/>
              </a:spcBef>
              <a:spcAft>
                <a:spcPts val="800"/>
              </a:spcAft>
              <a:buClr>
                <a:schemeClr val="tx1"/>
              </a:buClr>
              <a:buFont typeface="+mj-lt"/>
              <a:buAutoNum type="arabicPeriod"/>
            </a:pPr>
            <a:r>
              <a:rPr lang="en-US" sz="1800" dirty="0">
                <a:solidFill>
                  <a:schemeClr val="tx1"/>
                </a:solidFill>
                <a:effectLst/>
                <a:latin typeface="+mn-lt"/>
                <a:ea typeface="Calibri" panose="020F0502020204030204" pitchFamily="34" charset="0"/>
                <a:cs typeface="Times New Roman" panose="02020603050405020304" pitchFamily="18" charset="0"/>
              </a:rPr>
              <a:t>Modernization and Migration Challenges </a:t>
            </a:r>
            <a:r>
              <a:rPr lang="en-US" sz="1800" dirty="0">
                <a:solidFill>
                  <a:schemeClr val="tx1"/>
                </a:solidFill>
                <a:effectLst/>
                <a:latin typeface="+mn-lt"/>
                <a:ea typeface="Calibri" panose="020F0502020204030204" pitchFamily="34" charset="0"/>
                <a:cs typeface="Times New Roman" panose="02020603050405020304" pitchFamily="18" charset="0"/>
                <a:hlinkClick r:id="rId5" action="ppaction://hlinksldjump"/>
              </a:rPr>
              <a:t>(slide 3)</a:t>
            </a:r>
            <a:endParaRPr lang="en-US" sz="1800" dirty="0">
              <a:solidFill>
                <a:schemeClr val="tx1"/>
              </a:solidFill>
              <a:effectLst/>
              <a:latin typeface="+mn-lt"/>
              <a:ea typeface="Calibri" panose="020F0502020204030204" pitchFamily="34" charset="0"/>
              <a:cs typeface="Times New Roman" panose="02020603050405020304" pitchFamily="18" charset="0"/>
            </a:endParaRPr>
          </a:p>
          <a:p>
            <a:pPr marL="342900" marR="0" indent="-640080">
              <a:lnSpc>
                <a:spcPct val="107000"/>
              </a:lnSpc>
              <a:spcBef>
                <a:spcPts val="0"/>
              </a:spcBef>
              <a:spcAft>
                <a:spcPts val="800"/>
              </a:spcAft>
              <a:buClr>
                <a:schemeClr val="tx1"/>
              </a:buClr>
              <a:buFont typeface="+mj-lt"/>
              <a:buAutoNum type="arabicPeriod"/>
            </a:pPr>
            <a:r>
              <a:rPr lang="en-US" sz="1800" dirty="0">
                <a:solidFill>
                  <a:schemeClr val="tx1"/>
                </a:solidFill>
                <a:effectLst/>
                <a:latin typeface="+mn-lt"/>
                <a:ea typeface="Calibri" panose="020F0502020204030204" pitchFamily="34" charset="0"/>
                <a:cs typeface="Times New Roman" panose="02020603050405020304" pitchFamily="18" charset="0"/>
              </a:rPr>
              <a:t>M3 Framework Introduction </a:t>
            </a:r>
            <a:r>
              <a:rPr lang="en-US" sz="1800" dirty="0">
                <a:solidFill>
                  <a:schemeClr val="tx1"/>
                </a:solidFill>
                <a:effectLst/>
                <a:latin typeface="+mn-lt"/>
                <a:ea typeface="Calibri" panose="020F0502020204030204" pitchFamily="34" charset="0"/>
                <a:cs typeface="Times New Roman" panose="02020603050405020304" pitchFamily="18" charset="0"/>
                <a:hlinkClick r:id="rId6" action="ppaction://hlinksldjump"/>
              </a:rPr>
              <a:t>(slide 4) </a:t>
            </a:r>
            <a:endParaRPr lang="en-US" sz="1800" dirty="0">
              <a:solidFill>
                <a:schemeClr val="tx1"/>
              </a:solidFill>
              <a:effectLst/>
              <a:latin typeface="+mn-lt"/>
              <a:ea typeface="Calibri" panose="020F0502020204030204" pitchFamily="34" charset="0"/>
              <a:cs typeface="Times New Roman" panose="02020603050405020304" pitchFamily="18" charset="0"/>
            </a:endParaRPr>
          </a:p>
          <a:p>
            <a:pPr marL="342900" indent="-640080">
              <a:lnSpc>
                <a:spcPct val="107000"/>
              </a:lnSpc>
              <a:spcAft>
                <a:spcPts val="800"/>
              </a:spcAft>
              <a:buClr>
                <a:schemeClr val="tx1"/>
              </a:buClr>
              <a:buFont typeface="+mj-lt"/>
              <a:buAutoNum type="arabicPeriod"/>
            </a:pPr>
            <a:r>
              <a:rPr lang="en-US" sz="1800" dirty="0">
                <a:solidFill>
                  <a:schemeClr val="tx1"/>
                </a:solidFill>
                <a:latin typeface="+mn-lt"/>
                <a:cs typeface="Times New Roman" panose="02020603050405020304" pitchFamily="18" charset="0"/>
              </a:rPr>
              <a:t>What is the M3 Playbook? </a:t>
            </a:r>
            <a:r>
              <a:rPr lang="en-US" sz="1800" dirty="0">
                <a:solidFill>
                  <a:schemeClr val="tx1"/>
                </a:solidFill>
                <a:latin typeface="+mn-lt"/>
                <a:cs typeface="Times New Roman" panose="02020603050405020304" pitchFamily="18" charset="0"/>
                <a:hlinkClick r:id="rId7" action="ppaction://hlinksldjump"/>
              </a:rPr>
              <a:t>(slide 6)</a:t>
            </a:r>
            <a:endParaRPr lang="en-US" sz="1800" dirty="0">
              <a:solidFill>
                <a:schemeClr val="tx1"/>
              </a:solidFill>
              <a:latin typeface="+mn-lt"/>
              <a:cs typeface="Times New Roman" panose="02020603050405020304" pitchFamily="18" charset="0"/>
            </a:endParaRPr>
          </a:p>
          <a:p>
            <a:pPr marL="342900" indent="-640080">
              <a:lnSpc>
                <a:spcPct val="107000"/>
              </a:lnSpc>
              <a:spcAft>
                <a:spcPts val="800"/>
              </a:spcAft>
              <a:buClr>
                <a:schemeClr val="tx1"/>
              </a:buClr>
              <a:buFont typeface="+mj-lt"/>
              <a:buAutoNum type="arabicPeriod"/>
            </a:pPr>
            <a:r>
              <a:rPr lang="en-US" sz="1800" dirty="0">
                <a:solidFill>
                  <a:schemeClr val="tx1"/>
                </a:solidFill>
                <a:latin typeface="+mn-lt"/>
                <a:cs typeface="Times New Roman" panose="02020603050405020304" pitchFamily="18" charset="0"/>
              </a:rPr>
              <a:t>M3 Playbook Journey </a:t>
            </a:r>
            <a:r>
              <a:rPr lang="en-US" sz="1800" dirty="0">
                <a:solidFill>
                  <a:schemeClr val="tx1"/>
                </a:solidFill>
                <a:latin typeface="+mn-lt"/>
                <a:cs typeface="Times New Roman" panose="02020603050405020304" pitchFamily="18" charset="0"/>
                <a:hlinkClick r:id="rId8" action="ppaction://hlinksldjump"/>
              </a:rPr>
              <a:t>(slide 8)</a:t>
            </a:r>
            <a:r>
              <a:rPr lang="en-US" sz="1800" dirty="0">
                <a:solidFill>
                  <a:schemeClr val="tx1"/>
                </a:solidFill>
                <a:latin typeface="+mn-lt"/>
                <a:cs typeface="Times New Roman" panose="02020603050405020304" pitchFamily="18" charset="0"/>
              </a:rPr>
              <a:t>			</a:t>
            </a:r>
          </a:p>
          <a:p>
            <a:pPr marL="342900" indent="-640080">
              <a:lnSpc>
                <a:spcPct val="107000"/>
              </a:lnSpc>
              <a:spcAft>
                <a:spcPts val="800"/>
              </a:spcAft>
              <a:buClr>
                <a:schemeClr val="tx1"/>
              </a:buClr>
              <a:buFont typeface="+mj-lt"/>
              <a:buAutoNum type="arabicPeriod"/>
            </a:pPr>
            <a:r>
              <a:rPr lang="en-US" sz="1800" dirty="0">
                <a:solidFill>
                  <a:schemeClr val="tx1"/>
                </a:solidFill>
                <a:latin typeface="+mn-lt"/>
                <a:cs typeface="Times New Roman" panose="02020603050405020304" pitchFamily="18" charset="0"/>
              </a:rPr>
              <a:t>M3 Playbook Annual Update Objectives </a:t>
            </a:r>
            <a:r>
              <a:rPr lang="en-US" sz="1800" dirty="0">
                <a:solidFill>
                  <a:schemeClr val="tx1"/>
                </a:solidFill>
                <a:latin typeface="+mn-lt"/>
                <a:cs typeface="Times New Roman" panose="02020603050405020304" pitchFamily="18" charset="0"/>
                <a:hlinkClick r:id="rId9" action="ppaction://hlinksldjump"/>
              </a:rPr>
              <a:t>(slide 9)</a:t>
            </a:r>
            <a:r>
              <a:rPr lang="en-US" sz="1800" dirty="0">
                <a:solidFill>
                  <a:schemeClr val="tx1"/>
                </a:solidFill>
                <a:latin typeface="+mn-lt"/>
                <a:cs typeface="Times New Roman" panose="02020603050405020304" pitchFamily="18" charset="0"/>
              </a:rPr>
              <a:t>		</a:t>
            </a:r>
          </a:p>
          <a:p>
            <a:pPr marL="342900" indent="-640080">
              <a:lnSpc>
                <a:spcPct val="107000"/>
              </a:lnSpc>
              <a:spcAft>
                <a:spcPts val="800"/>
              </a:spcAft>
              <a:buClr>
                <a:schemeClr val="tx1"/>
              </a:buClr>
              <a:buFont typeface="+mj-lt"/>
              <a:buAutoNum type="arabicPeriod"/>
            </a:pPr>
            <a:r>
              <a:rPr lang="en-US" sz="1800" dirty="0">
                <a:solidFill>
                  <a:schemeClr val="tx1"/>
                </a:solidFill>
                <a:latin typeface="+mn-lt"/>
                <a:cs typeface="Times New Roman" panose="02020603050405020304" pitchFamily="18" charset="0"/>
              </a:rPr>
              <a:t>Quality Service Management Offices (QSMOs)</a:t>
            </a:r>
            <a:br>
              <a:rPr lang="en-US" sz="1800" dirty="0">
                <a:solidFill>
                  <a:schemeClr val="tx1"/>
                </a:solidFill>
                <a:latin typeface="+mn-lt"/>
                <a:cs typeface="Times New Roman" panose="02020603050405020304" pitchFamily="18" charset="0"/>
              </a:rPr>
            </a:br>
            <a:r>
              <a:rPr lang="en-US" sz="1800" dirty="0">
                <a:solidFill>
                  <a:schemeClr val="tx1"/>
                </a:solidFill>
                <a:latin typeface="+mn-lt"/>
                <a:cs typeface="Times New Roman" panose="02020603050405020304" pitchFamily="18" charset="0"/>
              </a:rPr>
              <a:t>      and the M3 Playbook </a:t>
            </a:r>
            <a:r>
              <a:rPr lang="en-US" sz="1800" dirty="0">
                <a:solidFill>
                  <a:schemeClr val="tx1"/>
                </a:solidFill>
                <a:latin typeface="+mn-lt"/>
                <a:cs typeface="Times New Roman" panose="02020603050405020304" pitchFamily="18" charset="0"/>
                <a:hlinkClick r:id="rId10" action="ppaction://hlinksldjump"/>
              </a:rPr>
              <a:t>(slide 10)</a:t>
            </a:r>
            <a:r>
              <a:rPr lang="en-US" sz="1800" dirty="0">
                <a:solidFill>
                  <a:schemeClr val="tx1"/>
                </a:solidFill>
                <a:latin typeface="+mn-lt"/>
                <a:cs typeface="Times New Roman" panose="02020603050405020304" pitchFamily="18" charset="0"/>
              </a:rPr>
              <a:t>		</a:t>
            </a:r>
          </a:p>
          <a:p>
            <a:pPr marL="342900" indent="-640080">
              <a:lnSpc>
                <a:spcPct val="107000"/>
              </a:lnSpc>
              <a:spcAft>
                <a:spcPts val="800"/>
              </a:spcAft>
              <a:buClr>
                <a:schemeClr val="tx1"/>
              </a:buClr>
              <a:buFont typeface="+mj-lt"/>
              <a:buAutoNum type="arabicPeriod"/>
            </a:pPr>
            <a:r>
              <a:rPr lang="en-US" sz="1800" dirty="0">
                <a:solidFill>
                  <a:schemeClr val="tx1"/>
                </a:solidFill>
                <a:latin typeface="+mn-lt"/>
                <a:cs typeface="Times New Roman" panose="02020603050405020304" pitchFamily="18" charset="0"/>
              </a:rPr>
              <a:t>M3 Playbook Intended Use </a:t>
            </a:r>
            <a:r>
              <a:rPr lang="en-US" sz="1800" dirty="0">
                <a:solidFill>
                  <a:schemeClr val="tx1"/>
                </a:solidFill>
                <a:latin typeface="+mn-lt"/>
                <a:cs typeface="Times New Roman" panose="02020603050405020304" pitchFamily="18" charset="0"/>
                <a:hlinkClick r:id="rId11" action="ppaction://hlinksldjump"/>
              </a:rPr>
              <a:t>(slide 12)</a:t>
            </a:r>
            <a:r>
              <a:rPr lang="en-US" sz="1800" dirty="0">
                <a:solidFill>
                  <a:schemeClr val="tx1"/>
                </a:solidFill>
                <a:latin typeface="+mn-lt"/>
                <a:cs typeface="Times New Roman" panose="02020603050405020304" pitchFamily="18" charset="0"/>
              </a:rPr>
              <a:t>	</a:t>
            </a:r>
          </a:p>
          <a:p>
            <a:pPr marL="342900" indent="-640080">
              <a:lnSpc>
                <a:spcPct val="107000"/>
              </a:lnSpc>
              <a:spcAft>
                <a:spcPts val="800"/>
              </a:spcAft>
              <a:buClr>
                <a:schemeClr val="tx1"/>
              </a:buClr>
              <a:buFont typeface="+mj-lt"/>
              <a:buAutoNum type="arabicPeriod"/>
            </a:pPr>
            <a:r>
              <a:rPr lang="en-US" sz="1800" dirty="0">
                <a:solidFill>
                  <a:schemeClr val="tx1"/>
                </a:solidFill>
                <a:latin typeface="+mn-lt"/>
                <a:cs typeface="Times New Roman" panose="02020603050405020304" pitchFamily="18" charset="0"/>
              </a:rPr>
              <a:t>Phases of the M3 </a:t>
            </a:r>
            <a:r>
              <a:rPr lang="en-US" sz="1800" dirty="0">
                <a:solidFill>
                  <a:schemeClr val="tx1"/>
                </a:solidFill>
                <a:latin typeface="+mn-lt"/>
                <a:cs typeface="Times New Roman" panose="02020603050405020304" pitchFamily="18" charset="0"/>
                <a:hlinkClick r:id="rId12" action="ppaction://hlinksldjump"/>
              </a:rPr>
              <a:t>(slide 15)</a:t>
            </a:r>
            <a:endParaRPr lang="en-US" sz="1800" dirty="0">
              <a:solidFill>
                <a:schemeClr val="tx1"/>
              </a:solidFill>
              <a:latin typeface="+mn-lt"/>
              <a:cs typeface="Times New Roman" panose="02020603050405020304" pitchFamily="18" charset="0"/>
            </a:endParaRPr>
          </a:p>
          <a:p>
            <a:pPr marL="342900" indent="-640080">
              <a:lnSpc>
                <a:spcPct val="107000"/>
              </a:lnSpc>
              <a:spcAft>
                <a:spcPts val="800"/>
              </a:spcAft>
              <a:buClr>
                <a:schemeClr val="tx1"/>
              </a:buClr>
              <a:buFont typeface="+mj-lt"/>
              <a:buAutoNum type="arabicPeriod"/>
            </a:pPr>
            <a:r>
              <a:rPr lang="en-US" sz="1800" dirty="0">
                <a:solidFill>
                  <a:schemeClr val="tx1"/>
                </a:solidFill>
                <a:latin typeface="+mn-lt"/>
                <a:cs typeface="Times New Roman" panose="02020603050405020304" pitchFamily="18" charset="0"/>
              </a:rPr>
              <a:t>Benefits to M3 Playbook Users </a:t>
            </a:r>
            <a:r>
              <a:rPr lang="en-US" sz="1800" dirty="0">
                <a:solidFill>
                  <a:schemeClr val="tx1"/>
                </a:solidFill>
                <a:latin typeface="+mn-lt"/>
                <a:cs typeface="Times New Roman" panose="02020603050405020304" pitchFamily="18" charset="0"/>
                <a:hlinkClick r:id="rId13" action="ppaction://hlinksldjump"/>
              </a:rPr>
              <a:t>(slide 23)</a:t>
            </a:r>
            <a:endParaRPr lang="en-US" sz="1800" dirty="0">
              <a:solidFill>
                <a:schemeClr val="tx1"/>
              </a:solidFill>
              <a:latin typeface="+mn-lt"/>
              <a:cs typeface="Times New Roman" panose="02020603050405020304" pitchFamily="18" charset="0"/>
            </a:endParaRPr>
          </a:p>
          <a:p>
            <a:pPr marL="342900" indent="-640080">
              <a:lnSpc>
                <a:spcPct val="107000"/>
              </a:lnSpc>
              <a:spcAft>
                <a:spcPts val="800"/>
              </a:spcAft>
              <a:buClr>
                <a:schemeClr val="tx1"/>
              </a:buClr>
              <a:buFont typeface="+mj-lt"/>
              <a:buAutoNum type="arabicPeriod"/>
            </a:pPr>
            <a:r>
              <a:rPr lang="en-US" sz="1800" dirty="0">
                <a:solidFill>
                  <a:schemeClr val="tx1"/>
                </a:solidFill>
                <a:latin typeface="+mn-lt"/>
                <a:cs typeface="Times New Roman" panose="02020603050405020304" pitchFamily="18" charset="0"/>
              </a:rPr>
              <a:t>Resource Materials </a:t>
            </a:r>
            <a:r>
              <a:rPr lang="en-US" sz="1800" dirty="0">
                <a:solidFill>
                  <a:schemeClr val="tx1"/>
                </a:solidFill>
                <a:latin typeface="+mn-lt"/>
                <a:cs typeface="Times New Roman" panose="02020603050405020304" pitchFamily="18" charset="0"/>
                <a:hlinkClick r:id="rId14" action="ppaction://hlinksldjump"/>
              </a:rPr>
              <a:t>(slide 24)</a:t>
            </a:r>
            <a:endParaRPr lang="en-US" sz="1800" dirty="0">
              <a:solidFill>
                <a:schemeClr val="tx1"/>
              </a:solidFill>
              <a:latin typeface="+mn-lt"/>
              <a:cs typeface="Times New Roman" panose="02020603050405020304" pitchFamily="18" charset="0"/>
            </a:endParaRPr>
          </a:p>
          <a:p>
            <a:pPr marL="342900" indent="-640080">
              <a:lnSpc>
                <a:spcPct val="107000"/>
              </a:lnSpc>
              <a:spcAft>
                <a:spcPts val="800"/>
              </a:spcAft>
              <a:buClr>
                <a:schemeClr val="tx1"/>
              </a:buClr>
              <a:buFont typeface="+mj-lt"/>
              <a:buAutoNum type="arabicPeriod"/>
            </a:pPr>
            <a:r>
              <a:rPr lang="en-US" sz="1800" dirty="0">
                <a:solidFill>
                  <a:schemeClr val="tx1"/>
                </a:solidFill>
                <a:latin typeface="+mn-lt"/>
                <a:cs typeface="Times New Roman" panose="02020603050405020304" pitchFamily="18" charset="0"/>
              </a:rPr>
              <a:t>How to Get Involved </a:t>
            </a:r>
            <a:r>
              <a:rPr lang="en-US" sz="1800" dirty="0">
                <a:solidFill>
                  <a:schemeClr val="tx1"/>
                </a:solidFill>
                <a:latin typeface="+mn-lt"/>
                <a:cs typeface="Times New Roman" panose="02020603050405020304" pitchFamily="18" charset="0"/>
                <a:hlinkClick r:id="rId15" action="ppaction://hlinksldjump"/>
              </a:rPr>
              <a:t>(slide 25)</a:t>
            </a:r>
            <a:endParaRPr lang="en-US" sz="1800" dirty="0">
              <a:solidFill>
                <a:schemeClr val="tx1"/>
              </a:solidFill>
              <a:latin typeface="+mn-lt"/>
              <a:cs typeface="Times New Roman" panose="02020603050405020304" pitchFamily="18" charset="0"/>
            </a:endParaRPr>
          </a:p>
        </p:txBody>
      </p:sp>
    </p:spTree>
    <p:extLst>
      <p:ext uri="{BB962C8B-B14F-4D97-AF65-F5344CB8AC3E}">
        <p14:creationId xmlns:p14="http://schemas.microsoft.com/office/powerpoint/2010/main" val="3032582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88A3E7-6558-47FD-91FA-D0EA9E266A34}"/>
              </a:ext>
            </a:extLst>
          </p:cNvPr>
          <p:cNvSpPr/>
          <p:nvPr/>
        </p:nvSpPr>
        <p:spPr>
          <a:xfrm>
            <a:off x="77033" y="544286"/>
            <a:ext cx="12040903" cy="6767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D579E0-6886-4322-B2B2-F22CC80F64B3}"/>
              </a:ext>
            </a:extLst>
          </p:cNvPr>
          <p:cNvSpPr/>
          <p:nvPr/>
        </p:nvSpPr>
        <p:spPr>
          <a:xfrm>
            <a:off x="528918" y="6222434"/>
            <a:ext cx="1228164" cy="51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nvGrpSpPr>
          <p:cNvPr id="19" name="Group 18">
            <a:extLst>
              <a:ext uri="{FF2B5EF4-FFF2-40B4-BE49-F238E27FC236}">
                <a16:creationId xmlns:a16="http://schemas.microsoft.com/office/drawing/2014/main" id="{A146E0D1-78D8-4DC4-8BB3-7CB2D7340D78}"/>
              </a:ext>
            </a:extLst>
          </p:cNvPr>
          <p:cNvGrpSpPr/>
          <p:nvPr/>
        </p:nvGrpSpPr>
        <p:grpSpPr>
          <a:xfrm>
            <a:off x="7007585" y="0"/>
            <a:ext cx="5184416" cy="6858000"/>
            <a:chOff x="1426029" y="1850572"/>
            <a:chExt cx="6193971" cy="4093030"/>
          </a:xfrm>
        </p:grpSpPr>
        <p:sp>
          <p:nvSpPr>
            <p:cNvPr id="20" name="Freeform: Shape 19">
              <a:extLst>
                <a:ext uri="{FF2B5EF4-FFF2-40B4-BE49-F238E27FC236}">
                  <a16:creationId xmlns:a16="http://schemas.microsoft.com/office/drawing/2014/main" id="{3E765E4C-69A4-441B-A03C-FBA2C4EA48C5}"/>
                </a:ext>
              </a:extLst>
            </p:cNvPr>
            <p:cNvSpPr/>
            <p:nvPr/>
          </p:nvSpPr>
          <p:spPr>
            <a:xfrm rot="5400000" flipH="1">
              <a:off x="2476500" y="800102"/>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21" name="Picture 20">
              <a:extLst>
                <a:ext uri="{FF2B5EF4-FFF2-40B4-BE49-F238E27FC236}">
                  <a16:creationId xmlns:a16="http://schemas.microsoft.com/office/drawing/2014/main" id="{1E6FBCF5-9558-4104-B8C5-451F6F7633AE}"/>
                </a:ext>
              </a:extLst>
            </p:cNvPr>
            <p:cNvPicPr>
              <a:picLocks noChangeAspect="1"/>
            </p:cNvPicPr>
            <p:nvPr/>
          </p:nvPicPr>
          <p:blipFill>
            <a:blip r:embed="rId3"/>
            <a:srcRect l="41956" t="30520" r="18072" b="13003"/>
            <a:stretch>
              <a:fillRect/>
            </a:stretch>
          </p:blipFill>
          <p:spPr>
            <a:xfrm rot="5400000" flipH="1">
              <a:off x="2476500" y="800101"/>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p:spPr>
        </p:pic>
      </p:grpSp>
      <p:sp>
        <p:nvSpPr>
          <p:cNvPr id="6" name="Slide Number Placeholder 5">
            <a:extLst>
              <a:ext uri="{FF2B5EF4-FFF2-40B4-BE49-F238E27FC236}">
                <a16:creationId xmlns:a16="http://schemas.microsoft.com/office/drawing/2014/main" id="{AC83790E-8BFC-469D-96E8-F9C16FC64CDA}"/>
              </a:ext>
            </a:extLst>
          </p:cNvPr>
          <p:cNvSpPr>
            <a:spLocks noGrp="1"/>
          </p:cNvSpPr>
          <p:nvPr>
            <p:ph type="sldNum" idx="10"/>
          </p:nvPr>
        </p:nvSpPr>
        <p:spPr>
          <a:xfrm>
            <a:off x="11037018" y="6011305"/>
            <a:ext cx="731600" cy="524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chemeClr val="bg1"/>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lang="en" sz="1200" b="1"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5" name="Text Placeholder 7">
            <a:extLst>
              <a:ext uri="{FF2B5EF4-FFF2-40B4-BE49-F238E27FC236}">
                <a16:creationId xmlns:a16="http://schemas.microsoft.com/office/drawing/2014/main" id="{9940FBCF-C3B4-4851-BDF2-E431FC8F4B4D}"/>
              </a:ext>
            </a:extLst>
          </p:cNvPr>
          <p:cNvSpPr txBox="1">
            <a:spLocks/>
          </p:cNvSpPr>
          <p:nvPr/>
        </p:nvSpPr>
        <p:spPr>
          <a:xfrm>
            <a:off x="432059" y="6452898"/>
            <a:ext cx="5348047" cy="1951154"/>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050" b="0" i="0" u="none" strike="noStrike" kern="0" cap="none" spc="0" normalizeH="0" baseline="0" noProof="0">
                <a:ln>
                  <a:noFill/>
                </a:ln>
                <a:solidFill>
                  <a:srgbClr val="005087"/>
                </a:solidFill>
                <a:effectLst/>
                <a:uLnTx/>
                <a:uFillTx/>
                <a:latin typeface="Arial"/>
                <a:cs typeface="Arial"/>
                <a:sym typeface="Arial"/>
              </a:rPr>
              <a:t>* Learn more about the Engagement phase activities and templates by clicking </a:t>
            </a:r>
            <a:r>
              <a:rPr kumimoji="0" lang="en-US" sz="1050" b="0" i="0" u="none" strike="noStrike" kern="0" cap="none" spc="0" normalizeH="0" baseline="0" noProof="0">
                <a:ln>
                  <a:noFill/>
                </a:ln>
                <a:solidFill>
                  <a:srgbClr val="005087"/>
                </a:solidFill>
                <a:effectLst/>
                <a:uLnTx/>
                <a:uFillTx/>
                <a:latin typeface="Arial"/>
                <a:cs typeface="Arial"/>
                <a:sym typeface="Arial"/>
                <a:hlinkClick r:id="rId4">
                  <a:extLst>
                    <a:ext uri="{A12FA001-AC4F-418D-AE19-62706E023703}">
                      <ahyp:hlinkClr xmlns:ahyp="http://schemas.microsoft.com/office/drawing/2018/hyperlinkcolor" val="tx"/>
                    </a:ext>
                  </a:extLst>
                </a:hlinkClick>
              </a:rPr>
              <a:t>here</a:t>
            </a:r>
            <a:endParaRPr kumimoji="0" lang="en-US" sz="1050" b="0" i="0" u="none" strike="noStrike" kern="0" cap="none" spc="0" normalizeH="0" baseline="0" noProof="0">
              <a:ln>
                <a:noFill/>
              </a:ln>
              <a:solidFill>
                <a:srgbClr val="005087"/>
              </a:solidFill>
              <a:effectLst/>
              <a:uLnTx/>
              <a:uFillTx/>
              <a:latin typeface="Arial"/>
              <a:cs typeface="Arial"/>
              <a:sym typeface="Arial"/>
            </a:endParaRPr>
          </a:p>
        </p:txBody>
      </p:sp>
      <p:cxnSp>
        <p:nvCxnSpPr>
          <p:cNvPr id="22" name="Straight Connector 21">
            <a:extLst>
              <a:ext uri="{FF2B5EF4-FFF2-40B4-BE49-F238E27FC236}">
                <a16:creationId xmlns:a16="http://schemas.microsoft.com/office/drawing/2014/main" id="{56417584-F4CD-489B-90C1-6EEAFC9708F8}"/>
              </a:ext>
            </a:extLst>
          </p:cNvPr>
          <p:cNvCxnSpPr>
            <a:cxnSpLocks/>
          </p:cNvCxnSpPr>
          <p:nvPr/>
        </p:nvCxnSpPr>
        <p:spPr>
          <a:xfrm>
            <a:off x="-4392" y="936183"/>
            <a:ext cx="5895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Text Placeholder 7">
            <a:extLst>
              <a:ext uri="{FF2B5EF4-FFF2-40B4-BE49-F238E27FC236}">
                <a16:creationId xmlns:a16="http://schemas.microsoft.com/office/drawing/2014/main" id="{C2ED52EA-7EA1-4BE9-AFED-54B7E54F8247}"/>
              </a:ext>
            </a:extLst>
          </p:cNvPr>
          <p:cNvSpPr txBox="1">
            <a:spLocks/>
          </p:cNvSpPr>
          <p:nvPr/>
        </p:nvSpPr>
        <p:spPr>
          <a:xfrm>
            <a:off x="7436338" y="678567"/>
            <a:ext cx="4384221" cy="1556143"/>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800" b="1" i="0" u="none" strike="noStrike" kern="0" cap="none" spc="0" normalizeH="0" baseline="0" noProof="0" dirty="0">
                <a:ln>
                  <a:noFill/>
                </a:ln>
                <a:solidFill>
                  <a:srgbClr val="FFFFFF"/>
                </a:solidFill>
                <a:effectLst/>
                <a:uLnTx/>
                <a:uFillTx/>
                <a:latin typeface="Arial"/>
                <a:cs typeface="Arial"/>
                <a:sym typeface="Arial"/>
              </a:rPr>
              <a:t>Key Activities*</a:t>
            </a:r>
          </a:p>
        </p:txBody>
      </p:sp>
      <p:sp>
        <p:nvSpPr>
          <p:cNvPr id="52" name="Footer Placeholder 2">
            <a:extLst>
              <a:ext uri="{FF2B5EF4-FFF2-40B4-BE49-F238E27FC236}">
                <a16:creationId xmlns:a16="http://schemas.microsoft.com/office/drawing/2014/main" id="{734000D9-68DA-421B-A470-3A1AA592AD7D}"/>
              </a:ext>
            </a:extLst>
          </p:cNvPr>
          <p:cNvSpPr>
            <a:spLocks noGrp="1"/>
          </p:cNvSpPr>
          <p:nvPr>
            <p:ph type="ftr" sz="quarter" idx="11"/>
          </p:nvPr>
        </p:nvSpPr>
        <p:spPr>
          <a:xfrm>
            <a:off x="8077200" y="76362"/>
            <a:ext cx="3499448" cy="254259"/>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chemeClr val="bg1"/>
                </a:solidFill>
                <a:effectLst/>
                <a:uLnTx/>
                <a:uFillTx/>
                <a:latin typeface="Arial"/>
                <a:ea typeface="+mn-ea"/>
                <a:cs typeface="Arial"/>
                <a:sym typeface="Arial"/>
              </a:rPr>
              <a:t>M3 Playbook Orientation</a:t>
            </a:r>
          </a:p>
        </p:txBody>
      </p:sp>
      <p:cxnSp>
        <p:nvCxnSpPr>
          <p:cNvPr id="45" name="Straight Connector 44">
            <a:extLst>
              <a:ext uri="{FF2B5EF4-FFF2-40B4-BE49-F238E27FC236}">
                <a16:creationId xmlns:a16="http://schemas.microsoft.com/office/drawing/2014/main" id="{45B0AC14-F726-4D9D-ACD7-497E8C54C8CB}"/>
              </a:ext>
            </a:extLst>
          </p:cNvPr>
          <p:cNvCxnSpPr>
            <a:cxnSpLocks/>
          </p:cNvCxnSpPr>
          <p:nvPr/>
        </p:nvCxnSpPr>
        <p:spPr>
          <a:xfrm flipV="1">
            <a:off x="-4392" y="920967"/>
            <a:ext cx="6206888" cy="15216"/>
          </a:xfrm>
          <a:prstGeom prst="line">
            <a:avLst/>
          </a:prstGeom>
          <a:ln>
            <a:solidFill>
              <a:srgbClr val="92D050"/>
            </a:solidFill>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2F2FE07A-06C4-4F41-8DB9-8DC750D52F8F}"/>
              </a:ext>
            </a:extLst>
          </p:cNvPr>
          <p:cNvGrpSpPr/>
          <p:nvPr/>
        </p:nvGrpSpPr>
        <p:grpSpPr>
          <a:xfrm>
            <a:off x="483489" y="3942609"/>
            <a:ext cx="5938769" cy="2347581"/>
            <a:chOff x="5426229" y="3780826"/>
            <a:chExt cx="5938769" cy="2347581"/>
          </a:xfrm>
        </p:grpSpPr>
        <p:sp>
          <p:nvSpPr>
            <p:cNvPr id="55" name="Content Placeholder 2">
              <a:extLst>
                <a:ext uri="{FF2B5EF4-FFF2-40B4-BE49-F238E27FC236}">
                  <a16:creationId xmlns:a16="http://schemas.microsoft.com/office/drawing/2014/main" id="{2A69E128-FA95-483E-9E7A-65B2AB41F9D6}"/>
                </a:ext>
              </a:extLst>
            </p:cNvPr>
            <p:cNvSpPr txBox="1">
              <a:spLocks/>
            </p:cNvSpPr>
            <p:nvPr/>
          </p:nvSpPr>
          <p:spPr>
            <a:xfrm>
              <a:off x="5427826" y="3922329"/>
              <a:ext cx="2104166"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Resource Management Plan</a:t>
              </a:r>
            </a:p>
            <a:p>
              <a:pPr marL="109728" lvl="0" indent="-109728">
                <a:spcBef>
                  <a:spcPts val="400"/>
                </a:spcBef>
                <a:buClr>
                  <a:srgbClr val="160083"/>
                </a:buClr>
                <a:buSzPct val="100000"/>
              </a:pPr>
              <a:r>
                <a:rPr lang="en-US" sz="1100">
                  <a:solidFill>
                    <a:srgbClr val="000000"/>
                  </a:solidFill>
                  <a:ea typeface="Arial"/>
                  <a:cs typeface="Arial"/>
                </a:rPr>
                <a:t>Governance Plan</a:t>
              </a:r>
            </a:p>
            <a:p>
              <a:pPr marL="109728" lvl="0" indent="-109728">
                <a:spcBef>
                  <a:spcPts val="400"/>
                </a:spcBef>
                <a:buClr>
                  <a:srgbClr val="160083"/>
                </a:buClr>
                <a:buSzPct val="100000"/>
              </a:pPr>
              <a:r>
                <a:rPr lang="en-US" sz="1100">
                  <a:solidFill>
                    <a:srgbClr val="000000"/>
                  </a:solidFill>
                  <a:ea typeface="Arial"/>
                  <a:cs typeface="Arial"/>
                </a:rPr>
                <a:t>Provider Agreement</a:t>
              </a:r>
            </a:p>
            <a:p>
              <a:pPr marL="109728" lvl="0" indent="-109728">
                <a:spcBef>
                  <a:spcPts val="400"/>
                </a:spcBef>
                <a:buClr>
                  <a:srgbClr val="160083"/>
                </a:buClr>
                <a:buSzPct val="100000"/>
              </a:pPr>
              <a:endParaRPr kumimoji="0" lang="en-US" sz="1100" b="0" i="0" u="sng" strike="noStrike" kern="1200" cap="none" spc="0" normalizeH="0" baseline="0" noProof="0">
                <a:ln>
                  <a:noFill/>
                </a:ln>
                <a:solidFill>
                  <a:srgbClr val="0070C0"/>
                </a:solidFill>
                <a:effectLst/>
                <a:uLnTx/>
                <a:uFillTx/>
                <a:latin typeface="Arial" panose="020B0604020202020204"/>
                <a:ea typeface="Arial"/>
                <a:cs typeface="Arial"/>
                <a:sym typeface="Arial"/>
              </a:endParaRPr>
            </a:p>
          </p:txBody>
        </p:sp>
        <p:sp>
          <p:nvSpPr>
            <p:cNvPr id="57" name="Content Placeholder 2">
              <a:extLst>
                <a:ext uri="{FF2B5EF4-FFF2-40B4-BE49-F238E27FC236}">
                  <a16:creationId xmlns:a16="http://schemas.microsoft.com/office/drawing/2014/main" id="{B082D674-97EB-4783-B5A1-D74E28432231}"/>
                </a:ext>
              </a:extLst>
            </p:cNvPr>
            <p:cNvSpPr txBox="1">
              <a:spLocks/>
            </p:cNvSpPr>
            <p:nvPr/>
          </p:nvSpPr>
          <p:spPr>
            <a:xfrm>
              <a:off x="8623954" y="3922329"/>
              <a:ext cx="2741044"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dirty="0">
                  <a:solidFill>
                    <a:srgbClr val="000000"/>
                  </a:solidFill>
                  <a:ea typeface="Arial"/>
                  <a:cs typeface="Arial"/>
                </a:rPr>
                <a:t>Resource Management Plan</a:t>
              </a:r>
            </a:p>
            <a:p>
              <a:pPr marL="109728" lvl="0" indent="-109728">
                <a:spcBef>
                  <a:spcPts val="400"/>
                </a:spcBef>
                <a:buClr>
                  <a:srgbClr val="160083"/>
                </a:buClr>
                <a:buSzPct val="100000"/>
              </a:pPr>
              <a:r>
                <a:rPr lang="en-US" sz="1100" dirty="0">
                  <a:solidFill>
                    <a:srgbClr val="000000"/>
                  </a:solidFill>
                  <a:ea typeface="Arial"/>
                  <a:cs typeface="Arial"/>
                </a:rPr>
                <a:t>Change Request Form</a:t>
              </a:r>
            </a:p>
            <a:p>
              <a:pPr marL="109728" indent="-109728">
                <a:spcBef>
                  <a:spcPts val="400"/>
                </a:spcBef>
                <a:buClr>
                  <a:srgbClr val="160083"/>
                </a:buClr>
                <a:buSzPct val="100000"/>
              </a:pPr>
              <a:r>
                <a:rPr lang="en-US" sz="1100" dirty="0">
                  <a:solidFill>
                    <a:srgbClr val="000000"/>
                  </a:solidFill>
                  <a:ea typeface="Arial"/>
                  <a:cs typeface="Arial"/>
                </a:rPr>
                <a:t>Change Management Plan</a:t>
              </a:r>
            </a:p>
            <a:p>
              <a:pPr marL="0" lvl="0" indent="0">
                <a:spcBef>
                  <a:spcPts val="400"/>
                </a:spcBef>
                <a:buClr>
                  <a:srgbClr val="160083"/>
                </a:buClr>
                <a:buSzPct val="100000"/>
                <a:buNone/>
              </a:pPr>
              <a:endParaRPr lang="en-US" sz="1100" dirty="0">
                <a:solidFill>
                  <a:srgbClr val="000000"/>
                </a:solidFill>
                <a:ea typeface="Arial"/>
                <a:cs typeface="Arial"/>
              </a:endParaRPr>
            </a:p>
          </p:txBody>
        </p:sp>
        <p:sp>
          <p:nvSpPr>
            <p:cNvPr id="60" name="Content Placeholder 2">
              <a:extLst>
                <a:ext uri="{FF2B5EF4-FFF2-40B4-BE49-F238E27FC236}">
                  <a16:creationId xmlns:a16="http://schemas.microsoft.com/office/drawing/2014/main" id="{98739D45-CAE7-41F8-B4CC-9CAA32BF915F}"/>
                </a:ext>
              </a:extLst>
            </p:cNvPr>
            <p:cNvSpPr txBox="1">
              <a:spLocks/>
            </p:cNvSpPr>
            <p:nvPr/>
          </p:nvSpPr>
          <p:spPr>
            <a:xfrm>
              <a:off x="5426231" y="5365121"/>
              <a:ext cx="2192264"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Executive Sponsor</a:t>
              </a:r>
            </a:p>
            <a:p>
              <a:pPr marL="109728" lvl="0" indent="-109728">
                <a:spcBef>
                  <a:spcPts val="400"/>
                </a:spcBef>
                <a:buClr>
                  <a:srgbClr val="160083"/>
                </a:buClr>
                <a:buSzPct val="100000"/>
              </a:pPr>
              <a:r>
                <a:rPr lang="en-US" sz="1100">
                  <a:solidFill>
                    <a:srgbClr val="000000"/>
                  </a:solidFill>
                  <a:ea typeface="Arial"/>
                  <a:cs typeface="Arial"/>
                </a:rPr>
                <a:t>Business Owner</a:t>
              </a:r>
            </a:p>
            <a:p>
              <a:pPr marL="109728" lvl="0" indent="-109728">
                <a:spcBef>
                  <a:spcPts val="400"/>
                </a:spcBef>
                <a:buClr>
                  <a:srgbClr val="160083"/>
                </a:buClr>
                <a:buSzPct val="100000"/>
              </a:pPr>
              <a:r>
                <a:rPr lang="en-US" sz="1100">
                  <a:solidFill>
                    <a:srgbClr val="000000"/>
                  </a:solidFill>
                  <a:ea typeface="Arial"/>
                  <a:cs typeface="Arial"/>
                </a:rPr>
                <a:t>Program Manager</a:t>
              </a:r>
            </a:p>
            <a:p>
              <a:pPr marL="109728" lvl="0" indent="-109728">
                <a:spcBef>
                  <a:spcPts val="400"/>
                </a:spcBef>
                <a:buClr>
                  <a:srgbClr val="160083"/>
                </a:buClr>
                <a:buSzPct val="100000"/>
              </a:pPr>
              <a:r>
                <a:rPr lang="en-US" sz="1100">
                  <a:solidFill>
                    <a:srgbClr val="000000"/>
                  </a:solidFill>
                  <a:ea typeface="Arial"/>
                  <a:cs typeface="Arial"/>
                </a:rPr>
                <a:t>PMO Lead</a:t>
              </a:r>
            </a:p>
          </p:txBody>
        </p:sp>
        <p:sp>
          <p:nvSpPr>
            <p:cNvPr id="61" name="Content Placeholder 2">
              <a:extLst>
                <a:ext uri="{FF2B5EF4-FFF2-40B4-BE49-F238E27FC236}">
                  <a16:creationId xmlns:a16="http://schemas.microsoft.com/office/drawing/2014/main" id="{38A8AC54-9F07-4195-809B-4B3EA7B0BCAA}"/>
                </a:ext>
              </a:extLst>
            </p:cNvPr>
            <p:cNvSpPr txBox="1">
              <a:spLocks/>
            </p:cNvSpPr>
            <p:nvPr/>
          </p:nvSpPr>
          <p:spPr>
            <a:xfrm>
              <a:off x="8570028" y="5365121"/>
              <a:ext cx="2399269"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PMO Team</a:t>
              </a:r>
            </a:p>
            <a:p>
              <a:pPr marL="109728" lvl="0" indent="-109728">
                <a:spcBef>
                  <a:spcPts val="400"/>
                </a:spcBef>
                <a:buClr>
                  <a:srgbClr val="160083"/>
                </a:buClr>
                <a:buSzPct val="100000"/>
              </a:pPr>
              <a:r>
                <a:rPr lang="en-US" sz="1100">
                  <a:solidFill>
                    <a:srgbClr val="000000"/>
                  </a:solidFill>
                  <a:ea typeface="Arial"/>
                  <a:cs typeface="Arial"/>
                </a:rPr>
                <a:t>Functional Lead</a:t>
              </a:r>
            </a:p>
            <a:p>
              <a:pPr marL="109728" lvl="0" indent="-109728">
                <a:spcBef>
                  <a:spcPts val="400"/>
                </a:spcBef>
                <a:buClr>
                  <a:srgbClr val="160083"/>
                </a:buClr>
                <a:buSzPct val="100000"/>
              </a:pPr>
              <a:r>
                <a:rPr lang="en-US" sz="1100">
                  <a:solidFill>
                    <a:srgbClr val="000000"/>
                  </a:solidFill>
                  <a:ea typeface="Arial"/>
                  <a:cs typeface="Arial"/>
                </a:rPr>
                <a:t>Technical Lead/Solution Architect</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QSMO</a:t>
              </a:r>
            </a:p>
          </p:txBody>
        </p:sp>
        <p:sp>
          <p:nvSpPr>
            <p:cNvPr id="69" name="Rectangle 68">
              <a:extLst>
                <a:ext uri="{FF2B5EF4-FFF2-40B4-BE49-F238E27FC236}">
                  <a16:creationId xmlns:a16="http://schemas.microsoft.com/office/drawing/2014/main" id="{10635758-E859-4A64-BD72-71D397161DF9}"/>
                </a:ext>
              </a:extLst>
            </p:cNvPr>
            <p:cNvSpPr/>
            <p:nvPr/>
          </p:nvSpPr>
          <p:spPr>
            <a:xfrm>
              <a:off x="8623953"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7723294C-428E-4424-9576-5D3F07AB11BC}"/>
                </a:ext>
              </a:extLst>
            </p:cNvPr>
            <p:cNvSpPr/>
            <p:nvPr/>
          </p:nvSpPr>
          <p:spPr>
            <a:xfrm>
              <a:off x="5427826"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7D0C3C43-DE3D-4A31-9B53-FB9D5001744D}"/>
                </a:ext>
              </a:extLst>
            </p:cNvPr>
            <p:cNvSpPr/>
            <p:nvPr/>
          </p:nvSpPr>
          <p:spPr>
            <a:xfrm flipV="1">
              <a:off x="5426229" y="5208536"/>
              <a:ext cx="5669280"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 name="Title 4">
            <a:extLst>
              <a:ext uri="{FF2B5EF4-FFF2-40B4-BE49-F238E27FC236}">
                <a16:creationId xmlns:a16="http://schemas.microsoft.com/office/drawing/2014/main" id="{F1C974B4-7A26-4ECA-BA8F-BD644EE9ED1E}"/>
              </a:ext>
            </a:extLst>
          </p:cNvPr>
          <p:cNvSpPr>
            <a:spLocks noGrp="1"/>
          </p:cNvSpPr>
          <p:nvPr>
            <p:ph type="title"/>
          </p:nvPr>
        </p:nvSpPr>
        <p:spPr>
          <a:xfrm>
            <a:off x="638355" y="321995"/>
            <a:ext cx="7438845" cy="855691"/>
          </a:xfrm>
        </p:spPr>
        <p:txBody>
          <a:bodyPr/>
          <a:lstStyle/>
          <a:p>
            <a:r>
              <a:rPr lang="en-US" dirty="0">
                <a:solidFill>
                  <a:schemeClr val="tx1"/>
                </a:solidFill>
              </a:rPr>
              <a:t>Phase 3: Engagement</a:t>
            </a:r>
          </a:p>
        </p:txBody>
      </p:sp>
      <p:sp>
        <p:nvSpPr>
          <p:cNvPr id="89" name="Content Placeholder 2">
            <a:extLst>
              <a:ext uri="{FF2B5EF4-FFF2-40B4-BE49-F238E27FC236}">
                <a16:creationId xmlns:a16="http://schemas.microsoft.com/office/drawing/2014/main" id="{AD650612-7BB9-485F-B03A-21417C827A17}"/>
              </a:ext>
            </a:extLst>
          </p:cNvPr>
          <p:cNvSpPr txBox="1">
            <a:spLocks/>
          </p:cNvSpPr>
          <p:nvPr/>
        </p:nvSpPr>
        <p:spPr>
          <a:xfrm>
            <a:off x="491273" y="3714419"/>
            <a:ext cx="1880880"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Inputs</a:t>
            </a:r>
            <a:endParaRPr kumimoji="0" lang="en-US" sz="11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0" name="Content Placeholder 2">
            <a:extLst>
              <a:ext uri="{FF2B5EF4-FFF2-40B4-BE49-F238E27FC236}">
                <a16:creationId xmlns:a16="http://schemas.microsoft.com/office/drawing/2014/main" id="{C480034B-FB1D-4AD7-8B04-2BE9CE7F5C99}"/>
              </a:ext>
            </a:extLst>
          </p:cNvPr>
          <p:cNvSpPr txBox="1">
            <a:spLocks/>
          </p:cNvSpPr>
          <p:nvPr/>
        </p:nvSpPr>
        <p:spPr>
          <a:xfrm>
            <a:off x="3681212" y="3714419"/>
            <a:ext cx="1743867"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Outputs</a:t>
            </a:r>
            <a:endParaRPr kumimoji="0" lang="en-US" sz="14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1" name="Content Placeholder 2">
            <a:extLst>
              <a:ext uri="{FF2B5EF4-FFF2-40B4-BE49-F238E27FC236}">
                <a16:creationId xmlns:a16="http://schemas.microsoft.com/office/drawing/2014/main" id="{2235CF4E-6100-40E6-A6F1-2493E1C427B3}"/>
              </a:ext>
            </a:extLst>
          </p:cNvPr>
          <p:cNvSpPr txBox="1">
            <a:spLocks/>
          </p:cNvSpPr>
          <p:nvPr/>
        </p:nvSpPr>
        <p:spPr>
          <a:xfrm>
            <a:off x="483528" y="5153054"/>
            <a:ext cx="2254582"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Stakeholders</a:t>
            </a:r>
            <a:endParaRPr kumimoji="0" lang="en-US" sz="1200" b="1" i="0" u="none" strike="noStrike" kern="1200" cap="none" spc="0" normalizeH="0" baseline="0" noProof="0">
              <a:ln>
                <a:noFill/>
              </a:ln>
              <a:solidFill>
                <a:srgbClr val="005087"/>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9488310A-125E-4D23-BE61-D423DFF5813D}"/>
              </a:ext>
            </a:extLst>
          </p:cNvPr>
          <p:cNvGrpSpPr/>
          <p:nvPr/>
        </p:nvGrpSpPr>
        <p:grpSpPr>
          <a:xfrm>
            <a:off x="374904" y="1197864"/>
            <a:ext cx="6126480" cy="2258568"/>
            <a:chOff x="200385" y="1067346"/>
            <a:chExt cx="6592824" cy="2404872"/>
          </a:xfrm>
        </p:grpSpPr>
        <p:grpSp>
          <p:nvGrpSpPr>
            <p:cNvPr id="8" name="Group 7">
              <a:extLst>
                <a:ext uri="{FF2B5EF4-FFF2-40B4-BE49-F238E27FC236}">
                  <a16:creationId xmlns:a16="http://schemas.microsoft.com/office/drawing/2014/main" id="{779F8DAB-4F04-44F3-AD7D-A834ADC16736}"/>
                </a:ext>
              </a:extLst>
            </p:cNvPr>
            <p:cNvGrpSpPr/>
            <p:nvPr/>
          </p:nvGrpSpPr>
          <p:grpSpPr>
            <a:xfrm>
              <a:off x="200385" y="1067346"/>
              <a:ext cx="6592824" cy="2404872"/>
              <a:chOff x="200385" y="1067346"/>
              <a:chExt cx="6592824" cy="2404872"/>
            </a:xfrm>
          </p:grpSpPr>
          <p:grpSp>
            <p:nvGrpSpPr>
              <p:cNvPr id="47" name="Group 46">
                <a:extLst>
                  <a:ext uri="{FF2B5EF4-FFF2-40B4-BE49-F238E27FC236}">
                    <a16:creationId xmlns:a16="http://schemas.microsoft.com/office/drawing/2014/main" id="{69442F2E-70B7-4A32-A0C6-5AD0A7983603}"/>
                  </a:ext>
                </a:extLst>
              </p:cNvPr>
              <p:cNvGrpSpPr/>
              <p:nvPr/>
            </p:nvGrpSpPr>
            <p:grpSpPr>
              <a:xfrm>
                <a:off x="200385" y="1067346"/>
                <a:ext cx="6592824" cy="2404872"/>
                <a:chOff x="2040080" y="1525430"/>
                <a:chExt cx="8111840" cy="2958163"/>
              </a:xfrm>
            </p:grpSpPr>
            <p:pic>
              <p:nvPicPr>
                <p:cNvPr id="48" name="Picture 47">
                  <a:extLst>
                    <a:ext uri="{FF2B5EF4-FFF2-40B4-BE49-F238E27FC236}">
                      <a16:creationId xmlns:a16="http://schemas.microsoft.com/office/drawing/2014/main" id="{6A8D1B01-8604-4755-833C-BEB4CA71F28F}"/>
                    </a:ext>
                  </a:extLst>
                </p:cNvPr>
                <p:cNvPicPr>
                  <a:picLocks noChangeAspect="1"/>
                </p:cNvPicPr>
                <p:nvPr/>
              </p:nvPicPr>
              <p:blipFill>
                <a:blip r:embed="rId5"/>
                <a:stretch>
                  <a:fillRect/>
                </a:stretch>
              </p:blipFill>
              <p:spPr>
                <a:xfrm>
                  <a:off x="2040080" y="1525430"/>
                  <a:ext cx="8111840" cy="2958163"/>
                </a:xfrm>
                <a:prstGeom prst="rect">
                  <a:avLst/>
                </a:prstGeom>
                <a:solidFill>
                  <a:schemeClr val="bg1">
                    <a:lumMod val="95000"/>
                    <a:alpha val="51000"/>
                  </a:schemeClr>
                </a:solidFill>
                <a:ln>
                  <a:noFill/>
                </a:ln>
              </p:spPr>
            </p:pic>
            <p:grpSp>
              <p:nvGrpSpPr>
                <p:cNvPr id="49" name="Group 48">
                  <a:extLst>
                    <a:ext uri="{FF2B5EF4-FFF2-40B4-BE49-F238E27FC236}">
                      <a16:creationId xmlns:a16="http://schemas.microsoft.com/office/drawing/2014/main" id="{F1A1307A-6A7C-45BE-892E-4C755CC10FC5}"/>
                    </a:ext>
                  </a:extLst>
                </p:cNvPr>
                <p:cNvGrpSpPr/>
                <p:nvPr/>
              </p:nvGrpSpPr>
              <p:grpSpPr>
                <a:xfrm>
                  <a:off x="2115757" y="1662138"/>
                  <a:ext cx="7927954" cy="2784754"/>
                  <a:chOff x="2115757" y="1662138"/>
                  <a:chExt cx="7927954" cy="2784754"/>
                </a:xfrm>
              </p:grpSpPr>
              <p:grpSp>
                <p:nvGrpSpPr>
                  <p:cNvPr id="50" name="Group 49">
                    <a:extLst>
                      <a:ext uri="{FF2B5EF4-FFF2-40B4-BE49-F238E27FC236}">
                        <a16:creationId xmlns:a16="http://schemas.microsoft.com/office/drawing/2014/main" id="{32740295-E024-4A04-BB21-4CF238A8D989}"/>
                      </a:ext>
                    </a:extLst>
                  </p:cNvPr>
                  <p:cNvGrpSpPr/>
                  <p:nvPr/>
                </p:nvGrpSpPr>
                <p:grpSpPr>
                  <a:xfrm>
                    <a:off x="2115757" y="1666576"/>
                    <a:ext cx="7927954" cy="2780316"/>
                    <a:chOff x="2115757" y="1666576"/>
                    <a:chExt cx="7927954" cy="2780316"/>
                  </a:xfrm>
                </p:grpSpPr>
                <p:sp>
                  <p:nvSpPr>
                    <p:cNvPr id="74" name="Freeform: Shape 73">
                      <a:hlinkClick r:id="rId4"/>
                      <a:extLst>
                        <a:ext uri="{FF2B5EF4-FFF2-40B4-BE49-F238E27FC236}">
                          <a16:creationId xmlns:a16="http://schemas.microsoft.com/office/drawing/2014/main" id="{D0F4AD9C-6A67-4C01-B567-37900D93A052}"/>
                        </a:ext>
                      </a:extLst>
                    </p:cNvPr>
                    <p:cNvSpPr/>
                    <p:nvPr/>
                  </p:nvSpPr>
                  <p:spPr>
                    <a:xfrm flipH="1">
                      <a:off x="2115757" y="1666576"/>
                      <a:ext cx="7927954" cy="2772408"/>
                    </a:xfrm>
                    <a:custGeom>
                      <a:avLst/>
                      <a:gdLst>
                        <a:gd name="connsiteX0" fmla="*/ 7450235 w 7927954"/>
                        <a:gd name="connsiteY0" fmla="*/ 2546120 h 2772408"/>
                        <a:gd name="connsiteX1" fmla="*/ 7340972 w 7927954"/>
                        <a:gd name="connsiteY1" fmla="*/ 2651176 h 2772408"/>
                        <a:gd name="connsiteX2" fmla="*/ 7450235 w 7927954"/>
                        <a:gd name="connsiteY2" fmla="*/ 2761690 h 2772408"/>
                        <a:gd name="connsiteX3" fmla="*/ 114966 w 7927954"/>
                        <a:gd name="connsiteY3" fmla="*/ 1980612 h 2772408"/>
                        <a:gd name="connsiteX4" fmla="*/ 34809 w 7927954"/>
                        <a:gd name="connsiteY4" fmla="*/ 1990160 h 2772408"/>
                        <a:gd name="connsiteX5" fmla="*/ 6176 w 7927954"/>
                        <a:gd name="connsiteY5" fmla="*/ 2040420 h 2772408"/>
                        <a:gd name="connsiteX6" fmla="*/ 799 w 7927954"/>
                        <a:gd name="connsiteY6" fmla="*/ 2410394 h 2772408"/>
                        <a:gd name="connsiteX7" fmla="*/ 42566 w 7927954"/>
                        <a:gd name="connsiteY7" fmla="*/ 2465214 h 2772408"/>
                        <a:gd name="connsiteX8" fmla="*/ 114966 w 7927954"/>
                        <a:gd name="connsiteY8" fmla="*/ 2481924 h 2772408"/>
                        <a:gd name="connsiteX9" fmla="*/ 114966 w 7927954"/>
                        <a:gd name="connsiteY9" fmla="*/ 1980612 h 2772408"/>
                        <a:gd name="connsiteX10" fmla="*/ 1121877 w 7927954"/>
                        <a:gd name="connsiteY10" fmla="*/ 202888 h 2772408"/>
                        <a:gd name="connsiteX11" fmla="*/ 1121877 w 7927954"/>
                        <a:gd name="connsiteY11" fmla="*/ 395452 h 2772408"/>
                        <a:gd name="connsiteX12" fmla="*/ 1077062 w 7927954"/>
                        <a:gd name="connsiteY12" fmla="*/ 395452 h 2772408"/>
                        <a:gd name="connsiteX13" fmla="*/ 1077062 w 7927954"/>
                        <a:gd name="connsiteY13" fmla="*/ 247455 h 2772408"/>
                        <a:gd name="connsiteX14" fmla="*/ 1104137 w 7927954"/>
                        <a:gd name="connsiteY14" fmla="*/ 229201 h 2772408"/>
                        <a:gd name="connsiteX15" fmla="*/ 4164860 w 7927954"/>
                        <a:gd name="connsiteY15" fmla="*/ 157696 h 2772408"/>
                        <a:gd name="connsiteX16" fmla="*/ 4164860 w 7927954"/>
                        <a:gd name="connsiteY16" fmla="*/ 2314540 h 2772408"/>
                        <a:gd name="connsiteX17" fmla="*/ 4163771 w 7927954"/>
                        <a:gd name="connsiteY17" fmla="*/ 2315580 h 2772408"/>
                        <a:gd name="connsiteX18" fmla="*/ 4163771 w 7927954"/>
                        <a:gd name="connsiteY18" fmla="*/ 351042 h 2772408"/>
                        <a:gd name="connsiteX19" fmla="*/ 4110323 w 7927954"/>
                        <a:gd name="connsiteY19" fmla="*/ 351042 h 2772408"/>
                        <a:gd name="connsiteX20" fmla="*/ 4110323 w 7927954"/>
                        <a:gd name="connsiteY20" fmla="*/ 242705 h 2772408"/>
                        <a:gd name="connsiteX21" fmla="*/ 4130544 w 7927954"/>
                        <a:gd name="connsiteY21" fmla="*/ 229072 h 2772408"/>
                        <a:gd name="connsiteX22" fmla="*/ 4158959 w 7927954"/>
                        <a:gd name="connsiteY22" fmla="*/ 186927 h 2772408"/>
                        <a:gd name="connsiteX23" fmla="*/ 2014879 w 7927954"/>
                        <a:gd name="connsiteY23" fmla="*/ 2859 h 2772408"/>
                        <a:gd name="connsiteX24" fmla="*/ 1892711 w 7927954"/>
                        <a:gd name="connsiteY24" fmla="*/ 83838 h 2772408"/>
                        <a:gd name="connsiteX25" fmla="*/ 1885723 w 7927954"/>
                        <a:gd name="connsiteY25" fmla="*/ 118449 h 2772408"/>
                        <a:gd name="connsiteX26" fmla="*/ 1139539 w 7927954"/>
                        <a:gd name="connsiteY26" fmla="*/ 118449 h 2772408"/>
                        <a:gd name="connsiteX27" fmla="*/ 1132551 w 7927954"/>
                        <a:gd name="connsiteY27" fmla="*/ 83838 h 2772408"/>
                        <a:gd name="connsiteX28" fmla="*/ 1010383 w 7927954"/>
                        <a:gd name="connsiteY28" fmla="*/ 2859 h 2772408"/>
                        <a:gd name="connsiteX29" fmla="*/ 888214 w 7927954"/>
                        <a:gd name="connsiteY29" fmla="*/ 83838 h 2772408"/>
                        <a:gd name="connsiteX30" fmla="*/ 881227 w 7927954"/>
                        <a:gd name="connsiteY30" fmla="*/ 118449 h 2772408"/>
                        <a:gd name="connsiteX31" fmla="*/ 117381 w 7927954"/>
                        <a:gd name="connsiteY31" fmla="*/ 118449 h 2772408"/>
                        <a:gd name="connsiteX32" fmla="*/ 117381 w 7927954"/>
                        <a:gd name="connsiteY32" fmla="*/ 398209 h 2772408"/>
                        <a:gd name="connsiteX33" fmla="*/ 40362 w 7927954"/>
                        <a:gd name="connsiteY33" fmla="*/ 407552 h 2772408"/>
                        <a:gd name="connsiteX34" fmla="*/ 11729 w 7927954"/>
                        <a:gd name="connsiteY34" fmla="*/ 458738 h 2772408"/>
                        <a:gd name="connsiteX35" fmla="*/ 6352 w 7927954"/>
                        <a:gd name="connsiteY35" fmla="*/ 835528 h 2772408"/>
                        <a:gd name="connsiteX36" fmla="*/ 48119 w 7927954"/>
                        <a:gd name="connsiteY36" fmla="*/ 891358 h 2772408"/>
                        <a:gd name="connsiteX37" fmla="*/ 117381 w 7927954"/>
                        <a:gd name="connsiteY37" fmla="*/ 907638 h 2772408"/>
                        <a:gd name="connsiteX38" fmla="*/ 117381 w 7927954"/>
                        <a:gd name="connsiteY38" fmla="*/ 918379 h 2772408"/>
                        <a:gd name="connsiteX39" fmla="*/ 39958 w 7927954"/>
                        <a:gd name="connsiteY39" fmla="*/ 927771 h 2772408"/>
                        <a:gd name="connsiteX40" fmla="*/ 11325 w 7927954"/>
                        <a:gd name="connsiteY40" fmla="*/ 978957 h 2772408"/>
                        <a:gd name="connsiteX41" fmla="*/ 5948 w 7927954"/>
                        <a:gd name="connsiteY41" fmla="*/ 1355748 h 2772408"/>
                        <a:gd name="connsiteX42" fmla="*/ 47715 w 7927954"/>
                        <a:gd name="connsiteY42" fmla="*/ 1411578 h 2772408"/>
                        <a:gd name="connsiteX43" fmla="*/ 117381 w 7927954"/>
                        <a:gd name="connsiteY43" fmla="*/ 1427952 h 2772408"/>
                        <a:gd name="connsiteX44" fmla="*/ 117381 w 7927954"/>
                        <a:gd name="connsiteY44" fmla="*/ 1453975 h 2772408"/>
                        <a:gd name="connsiteX45" fmla="*/ 40362 w 7927954"/>
                        <a:gd name="connsiteY45" fmla="*/ 1463127 h 2772408"/>
                        <a:gd name="connsiteX46" fmla="*/ 11729 w 7927954"/>
                        <a:gd name="connsiteY46" fmla="*/ 1513268 h 2772408"/>
                        <a:gd name="connsiteX47" fmla="*/ 6352 w 7927954"/>
                        <a:gd name="connsiteY47" fmla="*/ 1882364 h 2772408"/>
                        <a:gd name="connsiteX48" fmla="*/ 48119 w 7927954"/>
                        <a:gd name="connsiteY48" fmla="*/ 1937054 h 2772408"/>
                        <a:gd name="connsiteX49" fmla="*/ 117381 w 7927954"/>
                        <a:gd name="connsiteY49" fmla="*/ 1953002 h 2772408"/>
                        <a:gd name="connsiteX50" fmla="*/ 117381 w 7927954"/>
                        <a:gd name="connsiteY50" fmla="*/ 2645208 h 2772408"/>
                        <a:gd name="connsiteX51" fmla="*/ 1075951 w 7927954"/>
                        <a:gd name="connsiteY51" fmla="*/ 2645208 h 2772408"/>
                        <a:gd name="connsiteX52" fmla="*/ 1206143 w 7927954"/>
                        <a:gd name="connsiteY52" fmla="*/ 2772408 h 2772408"/>
                        <a:gd name="connsiteX53" fmla="*/ 1206143 w 7927954"/>
                        <a:gd name="connsiteY53" fmla="*/ 2645208 h 2772408"/>
                        <a:gd name="connsiteX54" fmla="*/ 2081558 w 7927954"/>
                        <a:gd name="connsiteY54" fmla="*/ 2645208 h 2772408"/>
                        <a:gd name="connsiteX55" fmla="*/ 2081558 w 7927954"/>
                        <a:gd name="connsiteY55" fmla="*/ 247455 h 2772408"/>
                        <a:gd name="connsiteX56" fmla="*/ 2108633 w 7927954"/>
                        <a:gd name="connsiteY56" fmla="*/ 229201 h 2772408"/>
                        <a:gd name="connsiteX57" fmla="*/ 2147467 w 7927954"/>
                        <a:gd name="connsiteY57" fmla="*/ 135447 h 2772408"/>
                        <a:gd name="connsiteX58" fmla="*/ 2014879 w 7927954"/>
                        <a:gd name="connsiteY58" fmla="*/ 2859 h 2772408"/>
                        <a:gd name="connsiteX59" fmla="*/ 6061014 w 7927954"/>
                        <a:gd name="connsiteY59" fmla="*/ 2859 h 2772408"/>
                        <a:gd name="connsiteX60" fmla="*/ 5938845 w 7927954"/>
                        <a:gd name="connsiteY60" fmla="*/ 83838 h 2772408"/>
                        <a:gd name="connsiteX61" fmla="*/ 5931858 w 7927954"/>
                        <a:gd name="connsiteY61" fmla="*/ 118448 h 2772408"/>
                        <a:gd name="connsiteX62" fmla="*/ 5182241 w 7927954"/>
                        <a:gd name="connsiteY62" fmla="*/ 118448 h 2772408"/>
                        <a:gd name="connsiteX63" fmla="*/ 5182241 w 7927954"/>
                        <a:gd name="connsiteY63" fmla="*/ 132588 h 2772408"/>
                        <a:gd name="connsiteX64" fmla="*/ 5182241 w 7927954"/>
                        <a:gd name="connsiteY64" fmla="*/ 2645207 h 2772408"/>
                        <a:gd name="connsiteX65" fmla="*/ 6124625 w 7927954"/>
                        <a:gd name="connsiteY65" fmla="*/ 2645207 h 2772408"/>
                        <a:gd name="connsiteX66" fmla="*/ 6124625 w 7927954"/>
                        <a:gd name="connsiteY66" fmla="*/ 2480741 h 2772408"/>
                        <a:gd name="connsiteX67" fmla="*/ 7618467 w 7927954"/>
                        <a:gd name="connsiteY67" fmla="*/ 2483114 h 2772408"/>
                        <a:gd name="connsiteX68" fmla="*/ 7898107 w 7927954"/>
                        <a:gd name="connsiteY68" fmla="*/ 2433186 h 2772408"/>
                        <a:gd name="connsiteX69" fmla="*/ 7888547 w 7927954"/>
                        <a:gd name="connsiteY69" fmla="*/ 1997416 h 2772408"/>
                        <a:gd name="connsiteX70" fmla="*/ 7628026 w 7927954"/>
                        <a:gd name="connsiteY70" fmla="*/ 1982993 h 2772408"/>
                        <a:gd name="connsiteX71" fmla="*/ 6124625 w 7927954"/>
                        <a:gd name="connsiteY71" fmla="*/ 1980619 h 2772408"/>
                        <a:gd name="connsiteX72" fmla="*/ 6124625 w 7927954"/>
                        <a:gd name="connsiteY72" fmla="*/ 1953731 h 2772408"/>
                        <a:gd name="connsiteX73" fmla="*/ 7618465 w 7927954"/>
                        <a:gd name="connsiteY73" fmla="*/ 1956104 h 2772408"/>
                        <a:gd name="connsiteX74" fmla="*/ 7898106 w 7927954"/>
                        <a:gd name="connsiteY74" fmla="*/ 1906176 h 2772408"/>
                        <a:gd name="connsiteX75" fmla="*/ 7888545 w 7927954"/>
                        <a:gd name="connsiteY75" fmla="*/ 1470406 h 2772408"/>
                        <a:gd name="connsiteX76" fmla="*/ 7628025 w 7927954"/>
                        <a:gd name="connsiteY76" fmla="*/ 1455983 h 2772408"/>
                        <a:gd name="connsiteX77" fmla="*/ 6124625 w 7927954"/>
                        <a:gd name="connsiteY77" fmla="*/ 1453609 h 2772408"/>
                        <a:gd name="connsiteX78" fmla="*/ 6124625 w 7927954"/>
                        <a:gd name="connsiteY78" fmla="*/ 1418176 h 2772408"/>
                        <a:gd name="connsiteX79" fmla="*/ 7618465 w 7927954"/>
                        <a:gd name="connsiteY79" fmla="*/ 1420549 h 2772408"/>
                        <a:gd name="connsiteX80" fmla="*/ 7898105 w 7927954"/>
                        <a:gd name="connsiteY80" fmla="*/ 1370621 h 2772408"/>
                        <a:gd name="connsiteX81" fmla="*/ 7888545 w 7927954"/>
                        <a:gd name="connsiteY81" fmla="*/ 934851 h 2772408"/>
                        <a:gd name="connsiteX82" fmla="*/ 7628024 w 7927954"/>
                        <a:gd name="connsiteY82" fmla="*/ 920428 h 2772408"/>
                        <a:gd name="connsiteX83" fmla="*/ 6124625 w 7927954"/>
                        <a:gd name="connsiteY83" fmla="*/ 918054 h 2772408"/>
                        <a:gd name="connsiteX84" fmla="*/ 6124625 w 7927954"/>
                        <a:gd name="connsiteY84" fmla="*/ 895575 h 2772408"/>
                        <a:gd name="connsiteX85" fmla="*/ 7620844 w 7927954"/>
                        <a:gd name="connsiteY85" fmla="*/ 897951 h 2772408"/>
                        <a:gd name="connsiteX86" fmla="*/ 7900485 w 7927954"/>
                        <a:gd name="connsiteY86" fmla="*/ 848023 h 2772408"/>
                        <a:gd name="connsiteX87" fmla="*/ 7890924 w 7927954"/>
                        <a:gd name="connsiteY87" fmla="*/ 412253 h 2772408"/>
                        <a:gd name="connsiteX88" fmla="*/ 7630403 w 7927954"/>
                        <a:gd name="connsiteY88" fmla="*/ 397830 h 2772408"/>
                        <a:gd name="connsiteX89" fmla="*/ 6124625 w 7927954"/>
                        <a:gd name="connsiteY89" fmla="*/ 395453 h 2772408"/>
                        <a:gd name="connsiteX90" fmla="*/ 6124625 w 7927954"/>
                        <a:gd name="connsiteY90" fmla="*/ 249523 h 2772408"/>
                        <a:gd name="connsiteX91" fmla="*/ 6154767 w 7927954"/>
                        <a:gd name="connsiteY91" fmla="*/ 229201 h 2772408"/>
                        <a:gd name="connsiteX92" fmla="*/ 6193601 w 7927954"/>
                        <a:gd name="connsiteY92" fmla="*/ 135447 h 2772408"/>
                        <a:gd name="connsiteX93" fmla="*/ 6061014 w 7927954"/>
                        <a:gd name="connsiteY93" fmla="*/ 2859 h 2772408"/>
                        <a:gd name="connsiteX94" fmla="*/ 5049653 w 7927954"/>
                        <a:gd name="connsiteY94" fmla="*/ 0 h 2772408"/>
                        <a:gd name="connsiteX95" fmla="*/ 4927485 w 7927954"/>
                        <a:gd name="connsiteY95" fmla="*/ 80979 h 2772408"/>
                        <a:gd name="connsiteX96" fmla="*/ 4919920 w 7927954"/>
                        <a:gd name="connsiteY96" fmla="*/ 118449 h 2772408"/>
                        <a:gd name="connsiteX97" fmla="*/ 4165972 w 7927954"/>
                        <a:gd name="connsiteY97" fmla="*/ 118449 h 2772408"/>
                        <a:gd name="connsiteX98" fmla="*/ 4158959 w 7927954"/>
                        <a:gd name="connsiteY98" fmla="*/ 83709 h 2772408"/>
                        <a:gd name="connsiteX99" fmla="*/ 4036790 w 7927954"/>
                        <a:gd name="connsiteY99" fmla="*/ 2730 h 2772408"/>
                        <a:gd name="connsiteX100" fmla="*/ 3914622 w 7927954"/>
                        <a:gd name="connsiteY100" fmla="*/ 83709 h 2772408"/>
                        <a:gd name="connsiteX101" fmla="*/ 3905852 w 7927954"/>
                        <a:gd name="connsiteY101" fmla="*/ 127146 h 2772408"/>
                        <a:gd name="connsiteX102" fmla="*/ 3163556 w 7927954"/>
                        <a:gd name="connsiteY102" fmla="*/ 127146 h 2772408"/>
                        <a:gd name="connsiteX103" fmla="*/ 3163556 w 7927954"/>
                        <a:gd name="connsiteY103" fmla="*/ 2312579 h 2772408"/>
                        <a:gd name="connsiteX104" fmla="*/ 2967069 w 7927954"/>
                        <a:gd name="connsiteY104" fmla="*/ 2505296 h 2772408"/>
                        <a:gd name="connsiteX105" fmla="*/ 3232246 w 7927954"/>
                        <a:gd name="connsiteY105" fmla="*/ 2764378 h 2772408"/>
                        <a:gd name="connsiteX106" fmla="*/ 3232246 w 7927954"/>
                        <a:gd name="connsiteY106" fmla="*/ 2653905 h 2772408"/>
                        <a:gd name="connsiteX107" fmla="*/ 4110323 w 7927954"/>
                        <a:gd name="connsiteY107" fmla="*/ 2653905 h 2772408"/>
                        <a:gd name="connsiteX108" fmla="*/ 4110323 w 7927954"/>
                        <a:gd name="connsiteY108" fmla="*/ 2649214 h 2772408"/>
                        <a:gd name="connsiteX109" fmla="*/ 4231169 w 7927954"/>
                        <a:gd name="connsiteY109" fmla="*/ 2770364 h 2772408"/>
                        <a:gd name="connsiteX110" fmla="*/ 4231169 w 7927954"/>
                        <a:gd name="connsiteY110" fmla="*/ 2645208 h 2772408"/>
                        <a:gd name="connsiteX111" fmla="*/ 5124541 w 7927954"/>
                        <a:gd name="connsiteY111" fmla="*/ 2645208 h 2772408"/>
                        <a:gd name="connsiteX112" fmla="*/ 5124541 w 7927954"/>
                        <a:gd name="connsiteY112" fmla="*/ 2473940 h 2772408"/>
                        <a:gd name="connsiteX113" fmla="*/ 5181379 w 7927954"/>
                        <a:gd name="connsiteY113" fmla="*/ 2473940 h 2772408"/>
                        <a:gd name="connsiteX114" fmla="*/ 5181379 w 7927954"/>
                        <a:gd name="connsiteY114" fmla="*/ 394974 h 2772408"/>
                        <a:gd name="connsiteX115" fmla="*/ 5124541 w 7927954"/>
                        <a:gd name="connsiteY115" fmla="*/ 394974 h 2772408"/>
                        <a:gd name="connsiteX116" fmla="*/ 5124541 w 7927954"/>
                        <a:gd name="connsiteY116" fmla="*/ 239061 h 2772408"/>
                        <a:gd name="connsiteX117" fmla="*/ 5143407 w 7927954"/>
                        <a:gd name="connsiteY117" fmla="*/ 226342 h 2772408"/>
                        <a:gd name="connsiteX118" fmla="*/ 5182241 w 7927954"/>
                        <a:gd name="connsiteY118" fmla="*/ 132588 h 2772408"/>
                        <a:gd name="connsiteX119" fmla="*/ 5049653 w 7927954"/>
                        <a:gd name="connsiteY119" fmla="*/ 0 h 27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7927954" h="2772408">
                          <a:moveTo>
                            <a:pt x="7450235" y="2546120"/>
                          </a:moveTo>
                          <a:lnTo>
                            <a:pt x="7340972" y="2651176"/>
                          </a:lnTo>
                          <a:lnTo>
                            <a:pt x="7450235" y="2761690"/>
                          </a:lnTo>
                          <a:close/>
                          <a:moveTo>
                            <a:pt x="114966" y="1980612"/>
                          </a:moveTo>
                          <a:lnTo>
                            <a:pt x="34809" y="1990160"/>
                          </a:lnTo>
                          <a:cubicBezTo>
                            <a:pt x="14681" y="1999332"/>
                            <a:pt x="16049" y="2008187"/>
                            <a:pt x="6176" y="2040420"/>
                          </a:cubicBezTo>
                          <a:cubicBezTo>
                            <a:pt x="3695" y="2096933"/>
                            <a:pt x="-2117" y="2331241"/>
                            <a:pt x="799" y="2410394"/>
                          </a:cubicBezTo>
                          <a:cubicBezTo>
                            <a:pt x="34671" y="2477613"/>
                            <a:pt x="24561" y="2448121"/>
                            <a:pt x="42566" y="2465214"/>
                          </a:cubicBezTo>
                          <a:lnTo>
                            <a:pt x="114966" y="2481924"/>
                          </a:lnTo>
                          <a:cubicBezTo>
                            <a:pt x="115069" y="2315615"/>
                            <a:pt x="114864" y="2146921"/>
                            <a:pt x="114966" y="1980612"/>
                          </a:cubicBezTo>
                          <a:close/>
                          <a:moveTo>
                            <a:pt x="1121877" y="202888"/>
                          </a:moveTo>
                          <a:lnTo>
                            <a:pt x="1121877" y="395452"/>
                          </a:lnTo>
                          <a:lnTo>
                            <a:pt x="1077062" y="395452"/>
                          </a:lnTo>
                          <a:lnTo>
                            <a:pt x="1077062" y="247455"/>
                          </a:lnTo>
                          <a:lnTo>
                            <a:pt x="1104137" y="229201"/>
                          </a:lnTo>
                          <a:close/>
                          <a:moveTo>
                            <a:pt x="4164860" y="157696"/>
                          </a:moveTo>
                          <a:lnTo>
                            <a:pt x="4164860" y="2314540"/>
                          </a:lnTo>
                          <a:lnTo>
                            <a:pt x="4163771" y="2315580"/>
                          </a:lnTo>
                          <a:lnTo>
                            <a:pt x="4163771" y="351042"/>
                          </a:lnTo>
                          <a:lnTo>
                            <a:pt x="4110323" y="351042"/>
                          </a:lnTo>
                          <a:lnTo>
                            <a:pt x="4110323" y="242705"/>
                          </a:lnTo>
                          <a:lnTo>
                            <a:pt x="4130544" y="229072"/>
                          </a:lnTo>
                          <a:cubicBezTo>
                            <a:pt x="4142541" y="217075"/>
                            <a:pt x="4152249" y="202790"/>
                            <a:pt x="4158959" y="186927"/>
                          </a:cubicBezTo>
                          <a:close/>
                          <a:moveTo>
                            <a:pt x="2014879" y="2859"/>
                          </a:moveTo>
                          <a:cubicBezTo>
                            <a:pt x="1959960" y="2859"/>
                            <a:pt x="1912839" y="36250"/>
                            <a:pt x="1892711" y="83838"/>
                          </a:cubicBezTo>
                          <a:lnTo>
                            <a:pt x="1885723" y="118449"/>
                          </a:lnTo>
                          <a:lnTo>
                            <a:pt x="1139539" y="118449"/>
                          </a:lnTo>
                          <a:lnTo>
                            <a:pt x="1132551" y="83838"/>
                          </a:lnTo>
                          <a:cubicBezTo>
                            <a:pt x="1112423" y="36250"/>
                            <a:pt x="1065302" y="2859"/>
                            <a:pt x="1010383" y="2859"/>
                          </a:cubicBezTo>
                          <a:cubicBezTo>
                            <a:pt x="955464" y="2859"/>
                            <a:pt x="908343" y="36250"/>
                            <a:pt x="888214" y="83838"/>
                          </a:cubicBezTo>
                          <a:lnTo>
                            <a:pt x="881227" y="118449"/>
                          </a:lnTo>
                          <a:lnTo>
                            <a:pt x="117381" y="118449"/>
                          </a:lnTo>
                          <a:lnTo>
                            <a:pt x="117381" y="398209"/>
                          </a:lnTo>
                          <a:lnTo>
                            <a:pt x="40362" y="407552"/>
                          </a:lnTo>
                          <a:cubicBezTo>
                            <a:pt x="20234" y="416892"/>
                            <a:pt x="21602" y="425910"/>
                            <a:pt x="11729" y="458738"/>
                          </a:cubicBezTo>
                          <a:cubicBezTo>
                            <a:pt x="9248" y="516292"/>
                            <a:pt x="3436" y="754917"/>
                            <a:pt x="6352" y="835528"/>
                          </a:cubicBezTo>
                          <a:cubicBezTo>
                            <a:pt x="40224" y="903984"/>
                            <a:pt x="30114" y="873949"/>
                            <a:pt x="48119" y="891358"/>
                          </a:cubicBezTo>
                          <a:lnTo>
                            <a:pt x="117381" y="907638"/>
                          </a:lnTo>
                          <a:lnTo>
                            <a:pt x="117381" y="918379"/>
                          </a:lnTo>
                          <a:lnTo>
                            <a:pt x="39958" y="927771"/>
                          </a:lnTo>
                          <a:cubicBezTo>
                            <a:pt x="19830" y="937111"/>
                            <a:pt x="21198" y="946130"/>
                            <a:pt x="11325" y="978957"/>
                          </a:cubicBezTo>
                          <a:cubicBezTo>
                            <a:pt x="8844" y="1036511"/>
                            <a:pt x="3032" y="1275136"/>
                            <a:pt x="5948" y="1355748"/>
                          </a:cubicBezTo>
                          <a:cubicBezTo>
                            <a:pt x="39820" y="1424204"/>
                            <a:pt x="29710" y="1394169"/>
                            <a:pt x="47715" y="1411578"/>
                          </a:cubicBezTo>
                          <a:lnTo>
                            <a:pt x="117381" y="1427952"/>
                          </a:lnTo>
                          <a:lnTo>
                            <a:pt x="117381" y="1453975"/>
                          </a:lnTo>
                          <a:lnTo>
                            <a:pt x="40362" y="1463127"/>
                          </a:lnTo>
                          <a:cubicBezTo>
                            <a:pt x="20234" y="1472277"/>
                            <a:pt x="21602" y="1481111"/>
                            <a:pt x="11729" y="1513268"/>
                          </a:cubicBezTo>
                          <a:cubicBezTo>
                            <a:pt x="9248" y="1569647"/>
                            <a:pt x="3436" y="1803399"/>
                            <a:pt x="6352" y="1882364"/>
                          </a:cubicBezTo>
                          <a:cubicBezTo>
                            <a:pt x="40224" y="1949423"/>
                            <a:pt x="30114" y="1920001"/>
                            <a:pt x="48119" y="1937054"/>
                          </a:cubicBezTo>
                          <a:lnTo>
                            <a:pt x="117381" y="1953002"/>
                          </a:lnTo>
                          <a:lnTo>
                            <a:pt x="117381" y="2645208"/>
                          </a:lnTo>
                          <a:lnTo>
                            <a:pt x="1075951" y="2645208"/>
                          </a:lnTo>
                          <a:lnTo>
                            <a:pt x="1206143" y="2772408"/>
                          </a:lnTo>
                          <a:lnTo>
                            <a:pt x="1206143" y="2645208"/>
                          </a:lnTo>
                          <a:lnTo>
                            <a:pt x="2081558" y="2645208"/>
                          </a:lnTo>
                          <a:lnTo>
                            <a:pt x="2081558" y="247455"/>
                          </a:lnTo>
                          <a:lnTo>
                            <a:pt x="2108633" y="229201"/>
                          </a:lnTo>
                          <a:cubicBezTo>
                            <a:pt x="2132627" y="205207"/>
                            <a:pt x="2147467" y="172060"/>
                            <a:pt x="2147467" y="135447"/>
                          </a:cubicBezTo>
                          <a:cubicBezTo>
                            <a:pt x="2147467" y="62221"/>
                            <a:pt x="2088105" y="2859"/>
                            <a:pt x="2014879" y="2859"/>
                          </a:cubicBezTo>
                          <a:close/>
                          <a:moveTo>
                            <a:pt x="6061014" y="2859"/>
                          </a:moveTo>
                          <a:cubicBezTo>
                            <a:pt x="6006094" y="2859"/>
                            <a:pt x="5958973" y="36250"/>
                            <a:pt x="5938845" y="83838"/>
                          </a:cubicBezTo>
                          <a:lnTo>
                            <a:pt x="5931858" y="118448"/>
                          </a:lnTo>
                          <a:lnTo>
                            <a:pt x="5182241" y="118448"/>
                          </a:lnTo>
                          <a:lnTo>
                            <a:pt x="5182241" y="132588"/>
                          </a:lnTo>
                          <a:lnTo>
                            <a:pt x="5182241" y="2645207"/>
                          </a:lnTo>
                          <a:lnTo>
                            <a:pt x="6124625" y="2645207"/>
                          </a:lnTo>
                          <a:lnTo>
                            <a:pt x="6124625" y="2480741"/>
                          </a:lnTo>
                          <a:lnTo>
                            <a:pt x="7618467" y="2483114"/>
                          </a:lnTo>
                          <a:cubicBezTo>
                            <a:pt x="7898881" y="2466061"/>
                            <a:pt x="7852695" y="2512151"/>
                            <a:pt x="7898107" y="2433186"/>
                          </a:cubicBezTo>
                          <a:cubicBezTo>
                            <a:pt x="7943519" y="2354221"/>
                            <a:pt x="7927187" y="2053795"/>
                            <a:pt x="7888547" y="1997416"/>
                          </a:cubicBezTo>
                          <a:cubicBezTo>
                            <a:pt x="7734782" y="1965259"/>
                            <a:pt x="7941504" y="1992143"/>
                            <a:pt x="7628026" y="1982993"/>
                          </a:cubicBezTo>
                          <a:lnTo>
                            <a:pt x="6124625" y="1980619"/>
                          </a:lnTo>
                          <a:lnTo>
                            <a:pt x="6124625" y="1953731"/>
                          </a:lnTo>
                          <a:lnTo>
                            <a:pt x="7618465" y="1956104"/>
                          </a:lnTo>
                          <a:cubicBezTo>
                            <a:pt x="7898879" y="1939051"/>
                            <a:pt x="7852693" y="1985141"/>
                            <a:pt x="7898106" y="1906176"/>
                          </a:cubicBezTo>
                          <a:cubicBezTo>
                            <a:pt x="7943518" y="1827211"/>
                            <a:pt x="7927186" y="1526785"/>
                            <a:pt x="7888545" y="1470406"/>
                          </a:cubicBezTo>
                          <a:cubicBezTo>
                            <a:pt x="7734781" y="1438249"/>
                            <a:pt x="7941503" y="1465133"/>
                            <a:pt x="7628025" y="1455983"/>
                          </a:cubicBezTo>
                          <a:lnTo>
                            <a:pt x="6124625" y="1453609"/>
                          </a:lnTo>
                          <a:lnTo>
                            <a:pt x="6124625" y="1418176"/>
                          </a:lnTo>
                          <a:lnTo>
                            <a:pt x="7618465" y="1420549"/>
                          </a:lnTo>
                          <a:cubicBezTo>
                            <a:pt x="7898879" y="1403496"/>
                            <a:pt x="7852693" y="1449586"/>
                            <a:pt x="7898105" y="1370621"/>
                          </a:cubicBezTo>
                          <a:cubicBezTo>
                            <a:pt x="7943516" y="1291656"/>
                            <a:pt x="7927185" y="991230"/>
                            <a:pt x="7888545" y="934851"/>
                          </a:cubicBezTo>
                          <a:cubicBezTo>
                            <a:pt x="7734780" y="902694"/>
                            <a:pt x="7941502" y="929578"/>
                            <a:pt x="7628024" y="920428"/>
                          </a:cubicBezTo>
                          <a:lnTo>
                            <a:pt x="6124625" y="918054"/>
                          </a:lnTo>
                          <a:lnTo>
                            <a:pt x="6124625" y="895575"/>
                          </a:lnTo>
                          <a:lnTo>
                            <a:pt x="7620844" y="897951"/>
                          </a:lnTo>
                          <a:cubicBezTo>
                            <a:pt x="7901258" y="880898"/>
                            <a:pt x="7855072" y="926988"/>
                            <a:pt x="7900485" y="848023"/>
                          </a:cubicBezTo>
                          <a:cubicBezTo>
                            <a:pt x="7945897" y="769058"/>
                            <a:pt x="7929564" y="468632"/>
                            <a:pt x="7890924" y="412253"/>
                          </a:cubicBezTo>
                          <a:cubicBezTo>
                            <a:pt x="7737159" y="380096"/>
                            <a:pt x="7943881" y="406980"/>
                            <a:pt x="7630403" y="397830"/>
                          </a:cubicBezTo>
                          <a:lnTo>
                            <a:pt x="6124625" y="395453"/>
                          </a:lnTo>
                          <a:lnTo>
                            <a:pt x="6124625" y="249523"/>
                          </a:lnTo>
                          <a:lnTo>
                            <a:pt x="6154767" y="229201"/>
                          </a:lnTo>
                          <a:cubicBezTo>
                            <a:pt x="6178761" y="205207"/>
                            <a:pt x="6193601" y="172060"/>
                            <a:pt x="6193601" y="135447"/>
                          </a:cubicBezTo>
                          <a:cubicBezTo>
                            <a:pt x="6193601" y="62221"/>
                            <a:pt x="6134239" y="2859"/>
                            <a:pt x="6061014" y="2859"/>
                          </a:cubicBezTo>
                          <a:close/>
                          <a:moveTo>
                            <a:pt x="5049653" y="0"/>
                          </a:moveTo>
                          <a:cubicBezTo>
                            <a:pt x="4994734" y="0"/>
                            <a:pt x="4947613" y="33391"/>
                            <a:pt x="4927485" y="80979"/>
                          </a:cubicBezTo>
                          <a:lnTo>
                            <a:pt x="4919920" y="118449"/>
                          </a:lnTo>
                          <a:lnTo>
                            <a:pt x="4165972" y="118449"/>
                          </a:lnTo>
                          <a:lnTo>
                            <a:pt x="4158959" y="83709"/>
                          </a:lnTo>
                          <a:cubicBezTo>
                            <a:pt x="4138831" y="36121"/>
                            <a:pt x="4091710" y="2730"/>
                            <a:pt x="4036790" y="2730"/>
                          </a:cubicBezTo>
                          <a:cubicBezTo>
                            <a:pt x="3981871" y="2730"/>
                            <a:pt x="3934750" y="36121"/>
                            <a:pt x="3914622" y="83709"/>
                          </a:cubicBezTo>
                          <a:lnTo>
                            <a:pt x="3905852" y="127146"/>
                          </a:lnTo>
                          <a:lnTo>
                            <a:pt x="3163556" y="127146"/>
                          </a:lnTo>
                          <a:lnTo>
                            <a:pt x="3163556" y="2312579"/>
                          </a:lnTo>
                          <a:lnTo>
                            <a:pt x="2967069" y="2505296"/>
                          </a:lnTo>
                          <a:lnTo>
                            <a:pt x="3232246" y="2764378"/>
                          </a:lnTo>
                          <a:lnTo>
                            <a:pt x="3232246" y="2653905"/>
                          </a:lnTo>
                          <a:lnTo>
                            <a:pt x="4110323" y="2653905"/>
                          </a:lnTo>
                          <a:lnTo>
                            <a:pt x="4110323" y="2649214"/>
                          </a:lnTo>
                          <a:lnTo>
                            <a:pt x="4231169" y="2770364"/>
                          </a:lnTo>
                          <a:lnTo>
                            <a:pt x="4231169" y="2645208"/>
                          </a:lnTo>
                          <a:lnTo>
                            <a:pt x="5124541" y="2645208"/>
                          </a:lnTo>
                          <a:lnTo>
                            <a:pt x="5124541" y="2473940"/>
                          </a:lnTo>
                          <a:lnTo>
                            <a:pt x="5181379" y="2473940"/>
                          </a:lnTo>
                          <a:lnTo>
                            <a:pt x="5181379" y="394974"/>
                          </a:lnTo>
                          <a:lnTo>
                            <a:pt x="5124541" y="394974"/>
                          </a:lnTo>
                          <a:lnTo>
                            <a:pt x="5124541" y="239061"/>
                          </a:lnTo>
                          <a:lnTo>
                            <a:pt x="5143407" y="226342"/>
                          </a:lnTo>
                          <a:cubicBezTo>
                            <a:pt x="5167401" y="202348"/>
                            <a:pt x="5182241" y="169201"/>
                            <a:pt x="5182241" y="132588"/>
                          </a:cubicBezTo>
                          <a:cubicBezTo>
                            <a:pt x="5182241" y="59362"/>
                            <a:pt x="5122879" y="0"/>
                            <a:pt x="5049653" y="0"/>
                          </a:cubicBezTo>
                          <a:close/>
                        </a:path>
                      </a:pathLst>
                    </a:cu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75" name="Isosceles Triangle 74">
                      <a:extLst>
                        <a:ext uri="{FF2B5EF4-FFF2-40B4-BE49-F238E27FC236}">
                          <a16:creationId xmlns:a16="http://schemas.microsoft.com/office/drawing/2014/main" id="{D1EE3BAF-F4F5-4325-9DF1-6EDD893FE3CD}"/>
                        </a:ext>
                      </a:extLst>
                    </p:cNvPr>
                    <p:cNvSpPr/>
                    <p:nvPr/>
                  </p:nvSpPr>
                  <p:spPr>
                    <a:xfrm rot="5400000">
                      <a:off x="7695140" y="4046750"/>
                      <a:ext cx="535106" cy="265177"/>
                    </a:xfrm>
                    <a:prstGeom prst="triangle">
                      <a:avLst>
                        <a:gd name="adj" fmla="val 48734"/>
                      </a:avLst>
                    </a:prstGeom>
                    <a:solidFill>
                      <a:srgbClr val="D258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51" name="Oval 50">
                    <a:extLst>
                      <a:ext uri="{FF2B5EF4-FFF2-40B4-BE49-F238E27FC236}">
                        <a16:creationId xmlns:a16="http://schemas.microsoft.com/office/drawing/2014/main" id="{2BD7D2A6-912D-481D-8B1B-0CEAD4D475D9}"/>
                      </a:ext>
                    </a:extLst>
                  </p:cNvPr>
                  <p:cNvSpPr/>
                  <p:nvPr/>
                </p:nvSpPr>
                <p:spPr>
                  <a:xfrm>
                    <a:off x="4856107" y="1664820"/>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3" name="Oval 52">
                    <a:extLst>
                      <a:ext uri="{FF2B5EF4-FFF2-40B4-BE49-F238E27FC236}">
                        <a16:creationId xmlns:a16="http://schemas.microsoft.com/office/drawing/2014/main" id="{594EA5F1-4686-4568-8B92-775D0447C770}"/>
                      </a:ext>
                    </a:extLst>
                  </p:cNvPr>
                  <p:cNvSpPr/>
                  <p:nvPr/>
                </p:nvSpPr>
                <p:spPr>
                  <a:xfrm>
                    <a:off x="5869276" y="1664819"/>
                    <a:ext cx="274368" cy="275105"/>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68" name="Oval 67">
                    <a:extLst>
                      <a:ext uri="{FF2B5EF4-FFF2-40B4-BE49-F238E27FC236}">
                        <a16:creationId xmlns:a16="http://schemas.microsoft.com/office/drawing/2014/main" id="{7C49CF2E-526B-4102-BE02-F0CC7084B5A4}"/>
                      </a:ext>
                    </a:extLst>
                  </p:cNvPr>
                  <p:cNvSpPr/>
                  <p:nvPr/>
                </p:nvSpPr>
                <p:spPr>
                  <a:xfrm>
                    <a:off x="3850318" y="1666576"/>
                    <a:ext cx="265176" cy="263588"/>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70" name="Oval 69">
                    <a:extLst>
                      <a:ext uri="{FF2B5EF4-FFF2-40B4-BE49-F238E27FC236}">
                        <a16:creationId xmlns:a16="http://schemas.microsoft.com/office/drawing/2014/main" id="{5672521D-D74F-43BB-948E-22E152FD08B4}"/>
                      </a:ext>
                    </a:extLst>
                  </p:cNvPr>
                  <p:cNvSpPr/>
                  <p:nvPr/>
                </p:nvSpPr>
                <p:spPr>
                  <a:xfrm>
                    <a:off x="7902721" y="1662138"/>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73" name="Oval 72">
                    <a:extLst>
                      <a:ext uri="{FF2B5EF4-FFF2-40B4-BE49-F238E27FC236}">
                        <a16:creationId xmlns:a16="http://schemas.microsoft.com/office/drawing/2014/main" id="{775CF551-4FDD-44CA-AA2A-195CCE18DC39}"/>
                      </a:ext>
                    </a:extLst>
                  </p:cNvPr>
                  <p:cNvSpPr/>
                  <p:nvPr/>
                </p:nvSpPr>
                <p:spPr>
                  <a:xfrm>
                    <a:off x="8903215" y="1662138"/>
                    <a:ext cx="274368" cy="277787"/>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grpSp>
          <p:sp>
            <p:nvSpPr>
              <p:cNvPr id="4" name="Rectangle 3">
                <a:extLst>
                  <a:ext uri="{FF2B5EF4-FFF2-40B4-BE49-F238E27FC236}">
                    <a16:creationId xmlns:a16="http://schemas.microsoft.com/office/drawing/2014/main" id="{2B5E88FB-B6DF-40DC-BFF6-018CFBD6B636}"/>
                  </a:ext>
                </a:extLst>
              </p:cNvPr>
              <p:cNvSpPr/>
              <p:nvPr/>
            </p:nvSpPr>
            <p:spPr>
              <a:xfrm>
                <a:off x="764123" y="3262803"/>
                <a:ext cx="804875" cy="1731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TextBox 95">
              <a:extLst>
                <a:ext uri="{FF2B5EF4-FFF2-40B4-BE49-F238E27FC236}">
                  <a16:creationId xmlns:a16="http://schemas.microsoft.com/office/drawing/2014/main" id="{87B4F3E5-2E1B-4325-B86E-AA92A7F8A717}"/>
                </a:ext>
              </a:extLst>
            </p:cNvPr>
            <p:cNvSpPr txBox="1"/>
            <p:nvPr/>
          </p:nvSpPr>
          <p:spPr>
            <a:xfrm>
              <a:off x="691006" y="3241662"/>
              <a:ext cx="1148265" cy="2082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1" u="none" strike="noStrike" kern="0" cap="none" spc="0" normalizeH="0" baseline="0" noProof="0">
                  <a:ln>
                    <a:noFill/>
                  </a:ln>
                  <a:solidFill>
                    <a:srgbClr val="EEEEEE">
                      <a:lumMod val="50000"/>
                      <a:alpha val="72000"/>
                    </a:srgbClr>
                  </a:solidFill>
                  <a:effectLst/>
                  <a:uLnTx/>
                  <a:uFillTx/>
                  <a:latin typeface="Arial"/>
                  <a:cs typeface="Arial"/>
                  <a:sym typeface="Arial"/>
                </a:rPr>
                <a:t>= Progress Review</a:t>
              </a:r>
            </a:p>
          </p:txBody>
        </p:sp>
      </p:grpSp>
      <p:sp>
        <p:nvSpPr>
          <p:cNvPr id="97" name="TextBox 96">
            <a:extLst>
              <a:ext uri="{FF2B5EF4-FFF2-40B4-BE49-F238E27FC236}">
                <a16:creationId xmlns:a16="http://schemas.microsoft.com/office/drawing/2014/main" id="{30AF5511-4668-412C-81BA-85415459E5E0}"/>
              </a:ext>
            </a:extLst>
          </p:cNvPr>
          <p:cNvSpPr txBox="1"/>
          <p:nvPr/>
        </p:nvSpPr>
        <p:spPr>
          <a:xfrm>
            <a:off x="7266248" y="6470392"/>
            <a:ext cx="4724400" cy="261610"/>
          </a:xfrm>
          <a:prstGeom prst="rect">
            <a:avLst/>
          </a:prstGeom>
          <a:noFill/>
        </p:spPr>
        <p:txBody>
          <a:bodyPr wrap="square" rtlCol="0">
            <a:spAutoFit/>
          </a:bodyPr>
          <a:lstStyle/>
          <a:p>
            <a:pPr algn="ctr"/>
            <a:r>
              <a:rPr lang="en-US" sz="1100" i="1" dirty="0">
                <a:solidFill>
                  <a:schemeClr val="bg1"/>
                </a:solidFill>
              </a:rPr>
              <a:t>- Last published June 2022 -</a:t>
            </a:r>
          </a:p>
        </p:txBody>
      </p:sp>
      <p:grpSp>
        <p:nvGrpSpPr>
          <p:cNvPr id="3" name="Group 2">
            <a:extLst>
              <a:ext uri="{FF2B5EF4-FFF2-40B4-BE49-F238E27FC236}">
                <a16:creationId xmlns:a16="http://schemas.microsoft.com/office/drawing/2014/main" id="{96F7C876-7CDB-4DB0-8C2E-4D6AD750886C}"/>
              </a:ext>
            </a:extLst>
          </p:cNvPr>
          <p:cNvGrpSpPr/>
          <p:nvPr/>
        </p:nvGrpSpPr>
        <p:grpSpPr>
          <a:xfrm>
            <a:off x="7547161" y="1245036"/>
            <a:ext cx="4361311" cy="461665"/>
            <a:chOff x="7547161" y="1245036"/>
            <a:chExt cx="4361311" cy="461665"/>
          </a:xfrm>
        </p:grpSpPr>
        <p:pic>
          <p:nvPicPr>
            <p:cNvPr id="58" name="Picture 57">
              <a:extLst>
                <a:ext uri="{FF2B5EF4-FFF2-40B4-BE49-F238E27FC236}">
                  <a16:creationId xmlns:a16="http://schemas.microsoft.com/office/drawing/2014/main" id="{E84CC558-EB2B-43F4-A273-59B7C57E4628}"/>
                </a:ext>
              </a:extLst>
            </p:cNvPr>
            <p:cNvPicPr>
              <a:picLocks noChangeAspect="1"/>
            </p:cNvPicPr>
            <p:nvPr/>
          </p:nvPicPr>
          <p:blipFill>
            <a:blip r:embed="rId6"/>
            <a:stretch>
              <a:fillRect/>
            </a:stretch>
          </p:blipFill>
          <p:spPr>
            <a:xfrm>
              <a:off x="7547161" y="1296921"/>
              <a:ext cx="308187" cy="357895"/>
            </a:xfrm>
            <a:prstGeom prst="rect">
              <a:avLst/>
            </a:prstGeom>
          </p:spPr>
        </p:pic>
        <p:sp>
          <p:nvSpPr>
            <p:cNvPr id="79" name="TextBox 78">
              <a:extLst>
                <a:ext uri="{FF2B5EF4-FFF2-40B4-BE49-F238E27FC236}">
                  <a16:creationId xmlns:a16="http://schemas.microsoft.com/office/drawing/2014/main" id="{5226194A-EA51-4D74-A68B-5E89BA2BB944}"/>
                </a:ext>
              </a:extLst>
            </p:cNvPr>
            <p:cNvSpPr txBox="1"/>
            <p:nvPr/>
          </p:nvSpPr>
          <p:spPr>
            <a:xfrm>
              <a:off x="8228650" y="1245036"/>
              <a:ext cx="3679822"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Monitor, measure, and report on program migration progress</a:t>
              </a:r>
            </a:p>
          </p:txBody>
        </p:sp>
      </p:grpSp>
      <p:grpSp>
        <p:nvGrpSpPr>
          <p:cNvPr id="10" name="Group 9">
            <a:extLst>
              <a:ext uri="{FF2B5EF4-FFF2-40B4-BE49-F238E27FC236}">
                <a16:creationId xmlns:a16="http://schemas.microsoft.com/office/drawing/2014/main" id="{16C48365-10D7-4A81-A09B-B7E7235217DE}"/>
              </a:ext>
            </a:extLst>
          </p:cNvPr>
          <p:cNvGrpSpPr/>
          <p:nvPr/>
        </p:nvGrpSpPr>
        <p:grpSpPr>
          <a:xfrm>
            <a:off x="7547161" y="1756887"/>
            <a:ext cx="4361311" cy="461665"/>
            <a:chOff x="7547161" y="1786974"/>
            <a:chExt cx="4361311" cy="461665"/>
          </a:xfrm>
        </p:grpSpPr>
        <p:pic>
          <p:nvPicPr>
            <p:cNvPr id="59" name="Picture 58">
              <a:extLst>
                <a:ext uri="{FF2B5EF4-FFF2-40B4-BE49-F238E27FC236}">
                  <a16:creationId xmlns:a16="http://schemas.microsoft.com/office/drawing/2014/main" id="{F4F1E50F-4FA6-4CC7-8377-E6569ABEB34B}"/>
                </a:ext>
              </a:extLst>
            </p:cNvPr>
            <p:cNvPicPr>
              <a:picLocks noChangeAspect="1"/>
            </p:cNvPicPr>
            <p:nvPr/>
          </p:nvPicPr>
          <p:blipFill>
            <a:blip r:embed="rId6"/>
            <a:stretch>
              <a:fillRect/>
            </a:stretch>
          </p:blipFill>
          <p:spPr>
            <a:xfrm>
              <a:off x="7547161" y="1838859"/>
              <a:ext cx="308187" cy="357895"/>
            </a:xfrm>
            <a:prstGeom prst="rect">
              <a:avLst/>
            </a:prstGeom>
          </p:spPr>
        </p:pic>
        <p:sp>
          <p:nvSpPr>
            <p:cNvPr id="80" name="TextBox 79">
              <a:extLst>
                <a:ext uri="{FF2B5EF4-FFF2-40B4-BE49-F238E27FC236}">
                  <a16:creationId xmlns:a16="http://schemas.microsoft.com/office/drawing/2014/main" id="{C2B45187-9B0E-4C34-AA81-35EA135691B4}"/>
                </a:ext>
              </a:extLst>
            </p:cNvPr>
            <p:cNvSpPr txBox="1"/>
            <p:nvPr/>
          </p:nvSpPr>
          <p:spPr>
            <a:xfrm>
              <a:off x="8228651" y="1786974"/>
              <a:ext cx="3679821" cy="461665"/>
            </a:xfrm>
            <a:prstGeom prst="rect">
              <a:avLst/>
            </a:prstGeom>
            <a:noFill/>
          </p:spPr>
          <p:txBody>
            <a:bodyPr wrap="square" rtlCol="0">
              <a:spAutoFit/>
            </a:bodyPr>
            <a:lstStyle/>
            <a:p>
              <a:pPr lvl="0">
                <a:spcBef>
                  <a:spcPts val="1000"/>
                </a:spcBef>
                <a:buClr>
                  <a:srgbClr val="FFFFFF"/>
                </a:buClr>
                <a:defRPr/>
              </a:pPr>
              <a:r>
                <a:rPr lang="en-US" sz="1200" kern="1200" dirty="0">
                  <a:solidFill>
                    <a:srgbClr val="FFFFFF"/>
                  </a:solidFill>
                </a:rPr>
                <a:t>Continue to execute risk management processes to identify and mitigate risks and issues</a:t>
              </a:r>
            </a:p>
          </p:txBody>
        </p:sp>
      </p:grpSp>
      <p:grpSp>
        <p:nvGrpSpPr>
          <p:cNvPr id="11" name="Group 10">
            <a:extLst>
              <a:ext uri="{FF2B5EF4-FFF2-40B4-BE49-F238E27FC236}">
                <a16:creationId xmlns:a16="http://schemas.microsoft.com/office/drawing/2014/main" id="{8D4428F7-A892-4A7E-9342-1BD12D10CF70}"/>
              </a:ext>
            </a:extLst>
          </p:cNvPr>
          <p:cNvGrpSpPr/>
          <p:nvPr/>
        </p:nvGrpSpPr>
        <p:grpSpPr>
          <a:xfrm>
            <a:off x="7547161" y="2268738"/>
            <a:ext cx="4361311" cy="461665"/>
            <a:chOff x="7547161" y="2328911"/>
            <a:chExt cx="4361311" cy="461665"/>
          </a:xfrm>
        </p:grpSpPr>
        <p:pic>
          <p:nvPicPr>
            <p:cNvPr id="62" name="Picture 61">
              <a:extLst>
                <a:ext uri="{FF2B5EF4-FFF2-40B4-BE49-F238E27FC236}">
                  <a16:creationId xmlns:a16="http://schemas.microsoft.com/office/drawing/2014/main" id="{4F332863-3B36-423E-B209-42B09665C84B}"/>
                </a:ext>
              </a:extLst>
            </p:cNvPr>
            <p:cNvPicPr>
              <a:picLocks noChangeAspect="1"/>
            </p:cNvPicPr>
            <p:nvPr/>
          </p:nvPicPr>
          <p:blipFill>
            <a:blip r:embed="rId6"/>
            <a:stretch>
              <a:fillRect/>
            </a:stretch>
          </p:blipFill>
          <p:spPr>
            <a:xfrm>
              <a:off x="7547161" y="2380796"/>
              <a:ext cx="308187" cy="357895"/>
            </a:xfrm>
            <a:prstGeom prst="rect">
              <a:avLst/>
            </a:prstGeom>
          </p:spPr>
        </p:pic>
        <p:sp>
          <p:nvSpPr>
            <p:cNvPr id="81" name="TextBox 80">
              <a:extLst>
                <a:ext uri="{FF2B5EF4-FFF2-40B4-BE49-F238E27FC236}">
                  <a16:creationId xmlns:a16="http://schemas.microsoft.com/office/drawing/2014/main" id="{C7FCB463-204D-476D-9A46-FF34FFEDC573}"/>
                </a:ext>
              </a:extLst>
            </p:cNvPr>
            <p:cNvSpPr txBox="1"/>
            <p:nvPr/>
          </p:nvSpPr>
          <p:spPr>
            <a:xfrm>
              <a:off x="8228651" y="2328911"/>
              <a:ext cx="3679821"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Develop migration approach, schedule, and cost based on Business Readiness Assessment</a:t>
              </a:r>
            </a:p>
          </p:txBody>
        </p:sp>
      </p:grpSp>
      <p:grpSp>
        <p:nvGrpSpPr>
          <p:cNvPr id="12" name="Group 11">
            <a:extLst>
              <a:ext uri="{FF2B5EF4-FFF2-40B4-BE49-F238E27FC236}">
                <a16:creationId xmlns:a16="http://schemas.microsoft.com/office/drawing/2014/main" id="{3D339DC1-4827-4ADB-8D36-B3434C3BA945}"/>
              </a:ext>
            </a:extLst>
          </p:cNvPr>
          <p:cNvGrpSpPr/>
          <p:nvPr/>
        </p:nvGrpSpPr>
        <p:grpSpPr>
          <a:xfrm>
            <a:off x="7485485" y="2780589"/>
            <a:ext cx="4420118" cy="646331"/>
            <a:chOff x="7485485" y="2771925"/>
            <a:chExt cx="4420118" cy="646331"/>
          </a:xfrm>
        </p:grpSpPr>
        <p:pic>
          <p:nvPicPr>
            <p:cNvPr id="76" name="Picture 75">
              <a:extLst>
                <a:ext uri="{FF2B5EF4-FFF2-40B4-BE49-F238E27FC236}">
                  <a16:creationId xmlns:a16="http://schemas.microsoft.com/office/drawing/2014/main" id="{A1552A2B-8C61-42AA-AB9F-E8569FF80D8B}"/>
                </a:ext>
              </a:extLst>
            </p:cNvPr>
            <p:cNvPicPr>
              <a:picLocks noChangeAspect="1"/>
            </p:cNvPicPr>
            <p:nvPr/>
          </p:nvPicPr>
          <p:blipFill>
            <a:blip r:embed="rId7"/>
            <a:stretch>
              <a:fillRect/>
            </a:stretch>
          </p:blipFill>
          <p:spPr>
            <a:xfrm>
              <a:off x="7485485" y="2914446"/>
              <a:ext cx="431538" cy="361288"/>
            </a:xfrm>
            <a:prstGeom prst="rect">
              <a:avLst/>
            </a:prstGeom>
          </p:spPr>
        </p:pic>
        <p:sp>
          <p:nvSpPr>
            <p:cNvPr id="82" name="TextBox 81">
              <a:extLst>
                <a:ext uri="{FF2B5EF4-FFF2-40B4-BE49-F238E27FC236}">
                  <a16:creationId xmlns:a16="http://schemas.microsoft.com/office/drawing/2014/main" id="{F1891C4E-F314-48C2-A874-9F6A133D148E}"/>
                </a:ext>
              </a:extLst>
            </p:cNvPr>
            <p:cNvSpPr txBox="1"/>
            <p:nvPr/>
          </p:nvSpPr>
          <p:spPr>
            <a:xfrm>
              <a:off x="8231519" y="2771925"/>
              <a:ext cx="3674084"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Continue to engage and communicate with labor relations to obtain approval towards shared services migration</a:t>
              </a:r>
            </a:p>
          </p:txBody>
        </p:sp>
      </p:grpSp>
      <p:grpSp>
        <p:nvGrpSpPr>
          <p:cNvPr id="13" name="Group 12">
            <a:extLst>
              <a:ext uri="{FF2B5EF4-FFF2-40B4-BE49-F238E27FC236}">
                <a16:creationId xmlns:a16="http://schemas.microsoft.com/office/drawing/2014/main" id="{3B008010-FC95-410E-B0E7-912617BD8FA9}"/>
              </a:ext>
            </a:extLst>
          </p:cNvPr>
          <p:cNvGrpSpPr/>
          <p:nvPr/>
        </p:nvGrpSpPr>
        <p:grpSpPr>
          <a:xfrm>
            <a:off x="7485485" y="3477106"/>
            <a:ext cx="4420118" cy="646331"/>
            <a:chOff x="7485485" y="3392516"/>
            <a:chExt cx="4420118" cy="646331"/>
          </a:xfrm>
        </p:grpSpPr>
        <p:pic>
          <p:nvPicPr>
            <p:cNvPr id="77" name="Picture 76">
              <a:extLst>
                <a:ext uri="{FF2B5EF4-FFF2-40B4-BE49-F238E27FC236}">
                  <a16:creationId xmlns:a16="http://schemas.microsoft.com/office/drawing/2014/main" id="{52CFFA9D-A8AE-48CE-80E6-D0249A2A0BCB}"/>
                </a:ext>
              </a:extLst>
            </p:cNvPr>
            <p:cNvPicPr>
              <a:picLocks noChangeAspect="1"/>
            </p:cNvPicPr>
            <p:nvPr/>
          </p:nvPicPr>
          <p:blipFill>
            <a:blip r:embed="rId7"/>
            <a:stretch>
              <a:fillRect/>
            </a:stretch>
          </p:blipFill>
          <p:spPr>
            <a:xfrm>
              <a:off x="7485485" y="3535037"/>
              <a:ext cx="431538" cy="361288"/>
            </a:xfrm>
            <a:prstGeom prst="rect">
              <a:avLst/>
            </a:prstGeom>
          </p:spPr>
        </p:pic>
        <p:sp>
          <p:nvSpPr>
            <p:cNvPr id="83" name="TextBox 82">
              <a:extLst>
                <a:ext uri="{FF2B5EF4-FFF2-40B4-BE49-F238E27FC236}">
                  <a16:creationId xmlns:a16="http://schemas.microsoft.com/office/drawing/2014/main" id="{1A3FC176-411C-4D8D-B5AE-C5AD051F3252}"/>
                </a:ext>
              </a:extLst>
            </p:cNvPr>
            <p:cNvSpPr txBox="1"/>
            <p:nvPr/>
          </p:nvSpPr>
          <p:spPr>
            <a:xfrm>
              <a:off x="8231519" y="3392516"/>
              <a:ext cx="3674084"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Maintain and execute Change Management and Communications Plans based on feedback from previous phases</a:t>
              </a:r>
            </a:p>
          </p:txBody>
        </p:sp>
      </p:grpSp>
      <p:grpSp>
        <p:nvGrpSpPr>
          <p:cNvPr id="14" name="Group 13">
            <a:extLst>
              <a:ext uri="{FF2B5EF4-FFF2-40B4-BE49-F238E27FC236}">
                <a16:creationId xmlns:a16="http://schemas.microsoft.com/office/drawing/2014/main" id="{EB4AA23C-3D94-446B-A49E-8ED32E476B9B}"/>
              </a:ext>
            </a:extLst>
          </p:cNvPr>
          <p:cNvGrpSpPr/>
          <p:nvPr/>
        </p:nvGrpSpPr>
        <p:grpSpPr>
          <a:xfrm>
            <a:off x="7485485" y="4173623"/>
            <a:ext cx="4420118" cy="461665"/>
            <a:chOff x="7485485" y="4057011"/>
            <a:chExt cx="4420118" cy="461665"/>
          </a:xfrm>
        </p:grpSpPr>
        <p:pic>
          <p:nvPicPr>
            <p:cNvPr id="65" name="Picture 64">
              <a:extLst>
                <a:ext uri="{FF2B5EF4-FFF2-40B4-BE49-F238E27FC236}">
                  <a16:creationId xmlns:a16="http://schemas.microsoft.com/office/drawing/2014/main" id="{C0470D57-B145-4318-AF38-883286D8CADB}"/>
                </a:ext>
              </a:extLst>
            </p:cNvPr>
            <p:cNvPicPr>
              <a:picLocks noChangeAspect="1"/>
            </p:cNvPicPr>
            <p:nvPr/>
          </p:nvPicPr>
          <p:blipFill>
            <a:blip r:embed="rId7"/>
            <a:stretch>
              <a:fillRect/>
            </a:stretch>
          </p:blipFill>
          <p:spPr>
            <a:xfrm>
              <a:off x="7485485" y="4107199"/>
              <a:ext cx="431538" cy="361288"/>
            </a:xfrm>
            <a:prstGeom prst="rect">
              <a:avLst/>
            </a:prstGeom>
          </p:spPr>
        </p:pic>
        <p:sp>
          <p:nvSpPr>
            <p:cNvPr id="84" name="TextBox 83">
              <a:extLst>
                <a:ext uri="{FF2B5EF4-FFF2-40B4-BE49-F238E27FC236}">
                  <a16:creationId xmlns:a16="http://schemas.microsoft.com/office/drawing/2014/main" id="{D46F5DA2-D771-4F0D-A170-37D37A80B7AD}"/>
                </a:ext>
              </a:extLst>
            </p:cNvPr>
            <p:cNvSpPr txBox="1"/>
            <p:nvPr/>
          </p:nvSpPr>
          <p:spPr>
            <a:xfrm>
              <a:off x="8231520" y="4057011"/>
              <a:ext cx="3674083"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Develop plan and approach for training curriculum, design, development, delivery, and evaluation</a:t>
              </a:r>
            </a:p>
          </p:txBody>
        </p:sp>
      </p:grpSp>
      <p:grpSp>
        <p:nvGrpSpPr>
          <p:cNvPr id="16" name="Group 15">
            <a:extLst>
              <a:ext uri="{FF2B5EF4-FFF2-40B4-BE49-F238E27FC236}">
                <a16:creationId xmlns:a16="http://schemas.microsoft.com/office/drawing/2014/main" id="{BBECBC3F-C94E-4A69-94FD-17A6F8FA9213}"/>
              </a:ext>
            </a:extLst>
          </p:cNvPr>
          <p:cNvGrpSpPr/>
          <p:nvPr/>
        </p:nvGrpSpPr>
        <p:grpSpPr>
          <a:xfrm>
            <a:off x="7523069" y="4685474"/>
            <a:ext cx="4388271" cy="646331"/>
            <a:chOff x="7523069" y="4708964"/>
            <a:chExt cx="4388271" cy="646331"/>
          </a:xfrm>
        </p:grpSpPr>
        <p:pic>
          <p:nvPicPr>
            <p:cNvPr id="78" name="Picture 77">
              <a:extLst>
                <a:ext uri="{FF2B5EF4-FFF2-40B4-BE49-F238E27FC236}">
                  <a16:creationId xmlns:a16="http://schemas.microsoft.com/office/drawing/2014/main" id="{3F66F7D9-84E8-4DBD-ADCC-B999042CB219}"/>
                </a:ext>
              </a:extLst>
            </p:cNvPr>
            <p:cNvPicPr>
              <a:picLocks noChangeAspect="1"/>
            </p:cNvPicPr>
            <p:nvPr/>
          </p:nvPicPr>
          <p:blipFill>
            <a:blip r:embed="rId8"/>
            <a:stretch>
              <a:fillRect/>
            </a:stretch>
          </p:blipFill>
          <p:spPr>
            <a:xfrm>
              <a:off x="7523069" y="4853944"/>
              <a:ext cx="356370" cy="356370"/>
            </a:xfrm>
            <a:prstGeom prst="rect">
              <a:avLst/>
            </a:prstGeom>
          </p:spPr>
        </p:pic>
        <p:sp>
          <p:nvSpPr>
            <p:cNvPr id="85" name="TextBox 84">
              <a:extLst>
                <a:ext uri="{FF2B5EF4-FFF2-40B4-BE49-F238E27FC236}">
                  <a16:creationId xmlns:a16="http://schemas.microsoft.com/office/drawing/2014/main" id="{90922F3D-003A-4F55-9F6D-765B7F1EFF1D}"/>
                </a:ext>
              </a:extLst>
            </p:cNvPr>
            <p:cNvSpPr txBox="1"/>
            <p:nvPr/>
          </p:nvSpPr>
          <p:spPr>
            <a:xfrm>
              <a:off x="8225782" y="4708964"/>
              <a:ext cx="3685558"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Conduct requirements fit-gap analysis and develop solutions to inform migration approach, timeline, and revised cost estimates</a:t>
              </a:r>
            </a:p>
          </p:txBody>
        </p:sp>
      </p:grpSp>
      <p:grpSp>
        <p:nvGrpSpPr>
          <p:cNvPr id="17" name="Group 16">
            <a:extLst>
              <a:ext uri="{FF2B5EF4-FFF2-40B4-BE49-F238E27FC236}">
                <a16:creationId xmlns:a16="http://schemas.microsoft.com/office/drawing/2014/main" id="{C73F7E6D-F66E-4B36-8BAD-7A35EF31BE77}"/>
              </a:ext>
            </a:extLst>
          </p:cNvPr>
          <p:cNvGrpSpPr/>
          <p:nvPr/>
        </p:nvGrpSpPr>
        <p:grpSpPr>
          <a:xfrm>
            <a:off x="7441336" y="5381989"/>
            <a:ext cx="4470004" cy="646331"/>
            <a:chOff x="7441336" y="5381989"/>
            <a:chExt cx="4470004" cy="646331"/>
          </a:xfrm>
        </p:grpSpPr>
        <p:pic>
          <p:nvPicPr>
            <p:cNvPr id="67" name="Picture 66">
              <a:extLst>
                <a:ext uri="{FF2B5EF4-FFF2-40B4-BE49-F238E27FC236}">
                  <a16:creationId xmlns:a16="http://schemas.microsoft.com/office/drawing/2014/main" id="{C19F1562-9AD5-497B-A9AA-D010045461D4}"/>
                </a:ext>
              </a:extLst>
            </p:cNvPr>
            <p:cNvPicPr>
              <a:picLocks noChangeAspect="1"/>
            </p:cNvPicPr>
            <p:nvPr/>
          </p:nvPicPr>
          <p:blipFill>
            <a:blip r:embed="rId9"/>
            <a:stretch>
              <a:fillRect/>
            </a:stretch>
          </p:blipFill>
          <p:spPr>
            <a:xfrm>
              <a:off x="7441336" y="5521682"/>
              <a:ext cx="519837" cy="366944"/>
            </a:xfrm>
            <a:prstGeom prst="rect">
              <a:avLst/>
            </a:prstGeom>
          </p:spPr>
        </p:pic>
        <p:sp>
          <p:nvSpPr>
            <p:cNvPr id="86" name="TextBox 85">
              <a:extLst>
                <a:ext uri="{FF2B5EF4-FFF2-40B4-BE49-F238E27FC236}">
                  <a16:creationId xmlns:a16="http://schemas.microsoft.com/office/drawing/2014/main" id="{13050E3B-32D2-4B05-8349-087A7D845D97}"/>
                </a:ext>
              </a:extLst>
            </p:cNvPr>
            <p:cNvSpPr txBox="1"/>
            <p:nvPr/>
          </p:nvSpPr>
          <p:spPr>
            <a:xfrm>
              <a:off x="8225783" y="5381989"/>
              <a:ext cx="3685557"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Finalize target state systems environment that captures all required interfaces, application, security/privacy, and data layers</a:t>
              </a:r>
            </a:p>
          </p:txBody>
        </p:sp>
      </p:grpSp>
    </p:spTree>
    <p:extLst>
      <p:ext uri="{BB962C8B-B14F-4D97-AF65-F5344CB8AC3E}">
        <p14:creationId xmlns:p14="http://schemas.microsoft.com/office/powerpoint/2010/main" val="615552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88A3E7-6558-47FD-91FA-D0EA9E266A34}"/>
              </a:ext>
            </a:extLst>
          </p:cNvPr>
          <p:cNvSpPr/>
          <p:nvPr/>
        </p:nvSpPr>
        <p:spPr>
          <a:xfrm>
            <a:off x="77034" y="544286"/>
            <a:ext cx="12032358" cy="6767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D579E0-6886-4322-B2B2-F22CC80F64B3}"/>
              </a:ext>
            </a:extLst>
          </p:cNvPr>
          <p:cNvSpPr/>
          <p:nvPr/>
        </p:nvSpPr>
        <p:spPr>
          <a:xfrm>
            <a:off x="528918" y="6222434"/>
            <a:ext cx="1228164" cy="51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nvGrpSpPr>
          <p:cNvPr id="19" name="Group 18">
            <a:extLst>
              <a:ext uri="{FF2B5EF4-FFF2-40B4-BE49-F238E27FC236}">
                <a16:creationId xmlns:a16="http://schemas.microsoft.com/office/drawing/2014/main" id="{A146E0D1-78D8-4DC4-8BB3-7CB2D7340D78}"/>
              </a:ext>
            </a:extLst>
          </p:cNvPr>
          <p:cNvGrpSpPr/>
          <p:nvPr/>
        </p:nvGrpSpPr>
        <p:grpSpPr>
          <a:xfrm>
            <a:off x="7007585" y="0"/>
            <a:ext cx="5184416" cy="6858000"/>
            <a:chOff x="1426029" y="1850572"/>
            <a:chExt cx="6193971" cy="4093030"/>
          </a:xfrm>
        </p:grpSpPr>
        <p:sp>
          <p:nvSpPr>
            <p:cNvPr id="20" name="Freeform: Shape 19">
              <a:extLst>
                <a:ext uri="{FF2B5EF4-FFF2-40B4-BE49-F238E27FC236}">
                  <a16:creationId xmlns:a16="http://schemas.microsoft.com/office/drawing/2014/main" id="{3E765E4C-69A4-441B-A03C-FBA2C4EA48C5}"/>
                </a:ext>
              </a:extLst>
            </p:cNvPr>
            <p:cNvSpPr/>
            <p:nvPr/>
          </p:nvSpPr>
          <p:spPr>
            <a:xfrm rot="5400000" flipH="1">
              <a:off x="2476500" y="800102"/>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21" name="Picture 20">
              <a:extLst>
                <a:ext uri="{FF2B5EF4-FFF2-40B4-BE49-F238E27FC236}">
                  <a16:creationId xmlns:a16="http://schemas.microsoft.com/office/drawing/2014/main" id="{1E6FBCF5-9558-4104-B8C5-451F6F7633AE}"/>
                </a:ext>
              </a:extLst>
            </p:cNvPr>
            <p:cNvPicPr>
              <a:picLocks noChangeAspect="1"/>
            </p:cNvPicPr>
            <p:nvPr/>
          </p:nvPicPr>
          <p:blipFill>
            <a:blip r:embed="rId3"/>
            <a:srcRect l="41956" t="30520" r="18072" b="13003"/>
            <a:stretch>
              <a:fillRect/>
            </a:stretch>
          </p:blipFill>
          <p:spPr>
            <a:xfrm rot="5400000" flipH="1">
              <a:off x="2476500" y="800101"/>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p:spPr>
        </p:pic>
      </p:grpSp>
      <p:sp>
        <p:nvSpPr>
          <p:cNvPr id="6" name="Slide Number Placeholder 5">
            <a:extLst>
              <a:ext uri="{FF2B5EF4-FFF2-40B4-BE49-F238E27FC236}">
                <a16:creationId xmlns:a16="http://schemas.microsoft.com/office/drawing/2014/main" id="{AC83790E-8BFC-469D-96E8-F9C16FC64CDA}"/>
              </a:ext>
            </a:extLst>
          </p:cNvPr>
          <p:cNvSpPr>
            <a:spLocks noGrp="1"/>
          </p:cNvSpPr>
          <p:nvPr>
            <p:ph type="sldNum" idx="10"/>
          </p:nvPr>
        </p:nvSpPr>
        <p:spPr>
          <a:xfrm>
            <a:off x="11037018" y="6011305"/>
            <a:ext cx="731600" cy="524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chemeClr val="bg1"/>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lang="en" sz="1200" b="1"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5" name="Text Placeholder 7">
            <a:extLst>
              <a:ext uri="{FF2B5EF4-FFF2-40B4-BE49-F238E27FC236}">
                <a16:creationId xmlns:a16="http://schemas.microsoft.com/office/drawing/2014/main" id="{9940FBCF-C3B4-4851-BDF2-E431FC8F4B4D}"/>
              </a:ext>
            </a:extLst>
          </p:cNvPr>
          <p:cNvSpPr txBox="1">
            <a:spLocks/>
          </p:cNvSpPr>
          <p:nvPr/>
        </p:nvSpPr>
        <p:spPr>
          <a:xfrm>
            <a:off x="374189" y="6457702"/>
            <a:ext cx="5348047" cy="1951154"/>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050" b="0" i="0" u="none" strike="noStrike" kern="0" cap="none" spc="0" normalizeH="0" baseline="0" noProof="0" dirty="0">
                <a:ln>
                  <a:noFill/>
                </a:ln>
                <a:solidFill>
                  <a:srgbClr val="005087"/>
                </a:solidFill>
                <a:effectLst/>
                <a:uLnTx/>
                <a:uFillTx/>
                <a:latin typeface="Arial"/>
                <a:cs typeface="Arial"/>
                <a:sym typeface="Arial"/>
              </a:rPr>
              <a:t>* Learn more about the Migration phase activities and templates by clicking </a:t>
            </a:r>
            <a:r>
              <a:rPr kumimoji="0" lang="en-US" sz="1050" b="0" i="0" u="none" strike="noStrike" kern="0" cap="none" spc="0" normalizeH="0" baseline="0" noProof="0" dirty="0">
                <a:ln>
                  <a:noFill/>
                </a:ln>
                <a:solidFill>
                  <a:srgbClr val="005087"/>
                </a:solidFill>
                <a:effectLst/>
                <a:uLnTx/>
                <a:uFillTx/>
                <a:latin typeface="Arial"/>
                <a:cs typeface="Arial"/>
                <a:sym typeface="Arial"/>
                <a:hlinkClick r:id="rId4">
                  <a:extLst>
                    <a:ext uri="{A12FA001-AC4F-418D-AE19-62706E023703}">
                      <ahyp:hlinkClr xmlns:ahyp="http://schemas.microsoft.com/office/drawing/2018/hyperlinkcolor" val="tx"/>
                    </a:ext>
                  </a:extLst>
                </a:hlinkClick>
              </a:rPr>
              <a:t>here</a:t>
            </a:r>
            <a:endParaRPr kumimoji="0" lang="en-US" sz="1050" b="0" i="0" u="none" strike="noStrike" kern="0" cap="none" spc="0" normalizeH="0" baseline="0" noProof="0" dirty="0">
              <a:ln>
                <a:noFill/>
              </a:ln>
              <a:solidFill>
                <a:srgbClr val="005087"/>
              </a:solidFill>
              <a:effectLst/>
              <a:uLnTx/>
              <a:uFillTx/>
              <a:latin typeface="Arial"/>
              <a:cs typeface="Arial"/>
              <a:sym typeface="Arial"/>
            </a:endParaRPr>
          </a:p>
        </p:txBody>
      </p:sp>
      <p:cxnSp>
        <p:nvCxnSpPr>
          <p:cNvPr id="22" name="Straight Connector 21">
            <a:extLst>
              <a:ext uri="{FF2B5EF4-FFF2-40B4-BE49-F238E27FC236}">
                <a16:creationId xmlns:a16="http://schemas.microsoft.com/office/drawing/2014/main" id="{56417584-F4CD-489B-90C1-6EEAFC9708F8}"/>
              </a:ext>
            </a:extLst>
          </p:cNvPr>
          <p:cNvCxnSpPr>
            <a:cxnSpLocks/>
          </p:cNvCxnSpPr>
          <p:nvPr/>
        </p:nvCxnSpPr>
        <p:spPr>
          <a:xfrm>
            <a:off x="-4392" y="936183"/>
            <a:ext cx="5895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Text Placeholder 7">
            <a:extLst>
              <a:ext uri="{FF2B5EF4-FFF2-40B4-BE49-F238E27FC236}">
                <a16:creationId xmlns:a16="http://schemas.microsoft.com/office/drawing/2014/main" id="{C2ED52EA-7EA1-4BE9-AFED-54B7E54F8247}"/>
              </a:ext>
            </a:extLst>
          </p:cNvPr>
          <p:cNvSpPr txBox="1">
            <a:spLocks/>
          </p:cNvSpPr>
          <p:nvPr/>
        </p:nvSpPr>
        <p:spPr>
          <a:xfrm>
            <a:off x="7436338" y="678567"/>
            <a:ext cx="4384221" cy="1556143"/>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800" b="1" i="0" u="none" strike="noStrike" kern="0" cap="none" spc="0" normalizeH="0" baseline="0" noProof="0" dirty="0">
                <a:ln>
                  <a:noFill/>
                </a:ln>
                <a:solidFill>
                  <a:srgbClr val="FFFFFF"/>
                </a:solidFill>
                <a:effectLst/>
                <a:uLnTx/>
                <a:uFillTx/>
                <a:latin typeface="Arial"/>
                <a:cs typeface="Arial"/>
                <a:sym typeface="Arial"/>
              </a:rPr>
              <a:t>Key Activities*</a:t>
            </a:r>
          </a:p>
        </p:txBody>
      </p:sp>
      <p:sp>
        <p:nvSpPr>
          <p:cNvPr id="52" name="Footer Placeholder 2">
            <a:extLst>
              <a:ext uri="{FF2B5EF4-FFF2-40B4-BE49-F238E27FC236}">
                <a16:creationId xmlns:a16="http://schemas.microsoft.com/office/drawing/2014/main" id="{734000D9-68DA-421B-A470-3A1AA592AD7D}"/>
              </a:ext>
            </a:extLst>
          </p:cNvPr>
          <p:cNvSpPr>
            <a:spLocks noGrp="1"/>
          </p:cNvSpPr>
          <p:nvPr>
            <p:ph type="ftr" sz="quarter" idx="11"/>
          </p:nvPr>
        </p:nvSpPr>
        <p:spPr>
          <a:xfrm>
            <a:off x="8077200" y="76362"/>
            <a:ext cx="3499448" cy="254259"/>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chemeClr val="bg1"/>
                </a:solidFill>
                <a:effectLst/>
                <a:uLnTx/>
                <a:uFillTx/>
                <a:latin typeface="Arial"/>
                <a:ea typeface="+mn-ea"/>
                <a:cs typeface="Arial"/>
                <a:sym typeface="Arial"/>
              </a:rPr>
              <a:t>M3 Playbook Orientation</a:t>
            </a:r>
          </a:p>
        </p:txBody>
      </p:sp>
      <p:cxnSp>
        <p:nvCxnSpPr>
          <p:cNvPr id="45" name="Straight Connector 44">
            <a:extLst>
              <a:ext uri="{FF2B5EF4-FFF2-40B4-BE49-F238E27FC236}">
                <a16:creationId xmlns:a16="http://schemas.microsoft.com/office/drawing/2014/main" id="{45B0AC14-F726-4D9D-ACD7-497E8C54C8CB}"/>
              </a:ext>
            </a:extLst>
          </p:cNvPr>
          <p:cNvCxnSpPr>
            <a:cxnSpLocks/>
          </p:cNvCxnSpPr>
          <p:nvPr/>
        </p:nvCxnSpPr>
        <p:spPr>
          <a:xfrm flipV="1">
            <a:off x="-4392" y="920967"/>
            <a:ext cx="6206888" cy="15216"/>
          </a:xfrm>
          <a:prstGeom prst="line">
            <a:avLst/>
          </a:prstGeom>
          <a:ln>
            <a:solidFill>
              <a:srgbClr val="92D050"/>
            </a:solidFill>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2F2FE07A-06C4-4F41-8DB9-8DC750D52F8F}"/>
              </a:ext>
            </a:extLst>
          </p:cNvPr>
          <p:cNvGrpSpPr/>
          <p:nvPr/>
        </p:nvGrpSpPr>
        <p:grpSpPr>
          <a:xfrm>
            <a:off x="483489" y="3942609"/>
            <a:ext cx="5938769" cy="2551226"/>
            <a:chOff x="5426229" y="3780826"/>
            <a:chExt cx="5938769" cy="2551226"/>
          </a:xfrm>
        </p:grpSpPr>
        <p:sp>
          <p:nvSpPr>
            <p:cNvPr id="55" name="Content Placeholder 2">
              <a:extLst>
                <a:ext uri="{FF2B5EF4-FFF2-40B4-BE49-F238E27FC236}">
                  <a16:creationId xmlns:a16="http://schemas.microsoft.com/office/drawing/2014/main" id="{2A69E128-FA95-483E-9E7A-65B2AB41F9D6}"/>
                </a:ext>
              </a:extLst>
            </p:cNvPr>
            <p:cNvSpPr txBox="1">
              <a:spLocks/>
            </p:cNvSpPr>
            <p:nvPr/>
          </p:nvSpPr>
          <p:spPr>
            <a:xfrm>
              <a:off x="5427826" y="3922329"/>
              <a:ext cx="2104166" cy="864339"/>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Requirements Traceability Matrix (RTM)</a:t>
              </a:r>
            </a:p>
            <a:p>
              <a:pPr marL="109728" lvl="0" indent="-109728">
                <a:spcBef>
                  <a:spcPts val="400"/>
                </a:spcBef>
                <a:buClr>
                  <a:srgbClr val="160083"/>
                </a:buClr>
                <a:buSzPct val="100000"/>
              </a:pPr>
              <a:r>
                <a:rPr lang="en-US" sz="1100">
                  <a:solidFill>
                    <a:srgbClr val="000000"/>
                  </a:solidFill>
                  <a:ea typeface="Arial"/>
                  <a:cs typeface="Arial"/>
                </a:rPr>
                <a:t>Requirements Fit-Gap Analysis</a:t>
              </a:r>
            </a:p>
            <a:p>
              <a:pPr marL="109728" lvl="0" indent="-109728">
                <a:spcBef>
                  <a:spcPts val="400"/>
                </a:spcBef>
                <a:buClr>
                  <a:srgbClr val="160083"/>
                </a:buClr>
                <a:buSzPct val="100000"/>
              </a:pPr>
              <a:r>
                <a:rPr lang="en-US" sz="1100">
                  <a:solidFill>
                    <a:srgbClr val="000000"/>
                  </a:solidFill>
                  <a:ea typeface="Arial"/>
                  <a:cs typeface="Arial"/>
                </a:rPr>
                <a:t>Target State Organization Design</a:t>
              </a:r>
            </a:p>
          </p:txBody>
        </p:sp>
        <p:sp>
          <p:nvSpPr>
            <p:cNvPr id="57" name="Content Placeholder 2">
              <a:extLst>
                <a:ext uri="{FF2B5EF4-FFF2-40B4-BE49-F238E27FC236}">
                  <a16:creationId xmlns:a16="http://schemas.microsoft.com/office/drawing/2014/main" id="{B082D674-97EB-4783-B5A1-D74E28432231}"/>
                </a:ext>
              </a:extLst>
            </p:cNvPr>
            <p:cNvSpPr txBox="1">
              <a:spLocks/>
            </p:cNvSpPr>
            <p:nvPr/>
          </p:nvSpPr>
          <p:spPr>
            <a:xfrm>
              <a:off x="8623954" y="3922329"/>
              <a:ext cx="2741044" cy="915635"/>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Labor Relations Strategy</a:t>
              </a:r>
            </a:p>
            <a:p>
              <a:pPr marL="109728" lvl="0" indent="-109728">
                <a:spcBef>
                  <a:spcPts val="400"/>
                </a:spcBef>
                <a:buClr>
                  <a:srgbClr val="160083"/>
                </a:buClr>
                <a:buSzPct val="100000"/>
              </a:pPr>
              <a:r>
                <a:rPr lang="en-US" sz="1100">
                  <a:solidFill>
                    <a:srgbClr val="000000"/>
                  </a:solidFill>
                  <a:ea typeface="Arial"/>
                  <a:cs typeface="Arial"/>
                </a:rPr>
                <a:t>Risk Management Plan</a:t>
              </a:r>
            </a:p>
            <a:p>
              <a:pPr marL="109728" lvl="0" indent="-109728">
                <a:spcBef>
                  <a:spcPts val="400"/>
                </a:spcBef>
                <a:buClr>
                  <a:srgbClr val="160083"/>
                </a:buClr>
                <a:buSzPct val="100000"/>
              </a:pPr>
              <a:r>
                <a:rPr lang="en-US" sz="1100">
                  <a:solidFill>
                    <a:srgbClr val="000000"/>
                  </a:solidFill>
                  <a:ea typeface="Arial"/>
                  <a:cs typeface="Arial"/>
                </a:rPr>
                <a:t>Risks, Actions, Issues, and Decisions (RAID) Log</a:t>
              </a:r>
            </a:p>
            <a:p>
              <a:pPr marL="109728" lvl="0" indent="-109728">
                <a:spcBef>
                  <a:spcPts val="400"/>
                </a:spcBef>
                <a:buClr>
                  <a:srgbClr val="160083"/>
                </a:buClr>
                <a:buSzPct val="100000"/>
              </a:pPr>
              <a:r>
                <a:rPr lang="en-US" sz="1100">
                  <a:solidFill>
                    <a:srgbClr val="000000"/>
                  </a:solidFill>
                  <a:ea typeface="Arial"/>
                  <a:cs typeface="Arial"/>
                </a:rPr>
                <a:t>M3 Risk Assessment Tool</a:t>
              </a: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60" name="Content Placeholder 2">
              <a:extLst>
                <a:ext uri="{FF2B5EF4-FFF2-40B4-BE49-F238E27FC236}">
                  <a16:creationId xmlns:a16="http://schemas.microsoft.com/office/drawing/2014/main" id="{98739D45-CAE7-41F8-B4CC-9CAA32BF915F}"/>
                </a:ext>
              </a:extLst>
            </p:cNvPr>
            <p:cNvSpPr txBox="1">
              <a:spLocks/>
            </p:cNvSpPr>
            <p:nvPr/>
          </p:nvSpPr>
          <p:spPr>
            <a:xfrm>
              <a:off x="5426231" y="5365121"/>
              <a:ext cx="2192264" cy="966931"/>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Executive Sponsor</a:t>
              </a:r>
            </a:p>
            <a:p>
              <a:pPr marL="109728" lvl="0" indent="-109728">
                <a:spcBef>
                  <a:spcPts val="400"/>
                </a:spcBef>
                <a:buClr>
                  <a:srgbClr val="160083"/>
                </a:buClr>
                <a:buSzPct val="100000"/>
              </a:pPr>
              <a:r>
                <a:rPr lang="en-US" sz="1100">
                  <a:solidFill>
                    <a:srgbClr val="000000"/>
                  </a:solidFill>
                  <a:ea typeface="Arial"/>
                  <a:cs typeface="Arial"/>
                </a:rPr>
                <a:t>Business Owner</a:t>
              </a:r>
            </a:p>
            <a:p>
              <a:pPr marL="109728" lvl="0" indent="-109728">
                <a:spcBef>
                  <a:spcPts val="400"/>
                </a:spcBef>
                <a:buClr>
                  <a:srgbClr val="160083"/>
                </a:buClr>
                <a:buSzPct val="100000"/>
              </a:pPr>
              <a:r>
                <a:rPr lang="en-US" sz="1100">
                  <a:solidFill>
                    <a:srgbClr val="000000"/>
                  </a:solidFill>
                  <a:ea typeface="Arial"/>
                  <a:cs typeface="Arial"/>
                </a:rPr>
                <a:t>Program Manager</a:t>
              </a:r>
            </a:p>
            <a:p>
              <a:pPr marL="109728" indent="-109728">
                <a:spcBef>
                  <a:spcPts val="400"/>
                </a:spcBef>
                <a:buClr>
                  <a:srgbClr val="160083"/>
                </a:buClr>
                <a:buSzPct val="100000"/>
              </a:pPr>
              <a:r>
                <a:rPr lang="en-US" sz="1100">
                  <a:solidFill>
                    <a:srgbClr val="000000"/>
                  </a:solidFill>
                  <a:ea typeface="Arial"/>
                  <a:cs typeface="Arial"/>
                </a:rPr>
                <a:t>PMO Team</a:t>
              </a:r>
            </a:p>
            <a:p>
              <a:pPr marL="109728" lvl="0" indent="-109728">
                <a:spcBef>
                  <a:spcPts val="400"/>
                </a:spcBef>
                <a:buClr>
                  <a:srgbClr val="160083"/>
                </a:buClr>
                <a:buSzPct val="100000"/>
              </a:pP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61" name="Content Placeholder 2">
              <a:extLst>
                <a:ext uri="{FF2B5EF4-FFF2-40B4-BE49-F238E27FC236}">
                  <a16:creationId xmlns:a16="http://schemas.microsoft.com/office/drawing/2014/main" id="{38A8AC54-9F07-4195-809B-4B3EA7B0BCAA}"/>
                </a:ext>
              </a:extLst>
            </p:cNvPr>
            <p:cNvSpPr txBox="1">
              <a:spLocks/>
            </p:cNvSpPr>
            <p:nvPr/>
          </p:nvSpPr>
          <p:spPr>
            <a:xfrm>
              <a:off x="8570028" y="5365121"/>
              <a:ext cx="2249677" cy="915635"/>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Information Systems Security Officer (ISSO)</a:t>
              </a:r>
            </a:p>
            <a:p>
              <a:pPr marL="109728" lvl="0" indent="-109728">
                <a:spcBef>
                  <a:spcPts val="400"/>
                </a:spcBef>
                <a:buClr>
                  <a:srgbClr val="160083"/>
                </a:buClr>
                <a:buSzPct val="100000"/>
              </a:pPr>
              <a:r>
                <a:rPr lang="en-US" sz="1100">
                  <a:solidFill>
                    <a:srgbClr val="000000"/>
                  </a:solidFill>
                  <a:ea typeface="Arial"/>
                  <a:cs typeface="Arial"/>
                </a:rPr>
                <a:t>Change Management Lead</a:t>
              </a:r>
            </a:p>
            <a:p>
              <a:pPr marL="109728" lvl="0" indent="-109728">
                <a:spcBef>
                  <a:spcPts val="400"/>
                </a:spcBef>
                <a:buClr>
                  <a:srgbClr val="160083"/>
                </a:buClr>
                <a:buSzPct val="100000"/>
              </a:pPr>
              <a:r>
                <a:rPr lang="en-US" sz="1100">
                  <a:solidFill>
                    <a:srgbClr val="000000"/>
                  </a:solidFill>
                  <a:ea typeface="Arial"/>
                  <a:cs typeface="Arial"/>
                </a:rPr>
                <a:t>QSMO</a:t>
              </a: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69" name="Rectangle 68">
              <a:extLst>
                <a:ext uri="{FF2B5EF4-FFF2-40B4-BE49-F238E27FC236}">
                  <a16:creationId xmlns:a16="http://schemas.microsoft.com/office/drawing/2014/main" id="{10635758-E859-4A64-BD72-71D397161DF9}"/>
                </a:ext>
              </a:extLst>
            </p:cNvPr>
            <p:cNvSpPr/>
            <p:nvPr/>
          </p:nvSpPr>
          <p:spPr>
            <a:xfrm>
              <a:off x="8623953"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7723294C-428E-4424-9576-5D3F07AB11BC}"/>
                </a:ext>
              </a:extLst>
            </p:cNvPr>
            <p:cNvSpPr/>
            <p:nvPr/>
          </p:nvSpPr>
          <p:spPr>
            <a:xfrm>
              <a:off x="5427826"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7D0C3C43-DE3D-4A31-9B53-FB9D5001744D}"/>
                </a:ext>
              </a:extLst>
            </p:cNvPr>
            <p:cNvSpPr/>
            <p:nvPr/>
          </p:nvSpPr>
          <p:spPr>
            <a:xfrm flipV="1">
              <a:off x="5426229" y="5208536"/>
              <a:ext cx="5669280"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 name="Title 4">
            <a:extLst>
              <a:ext uri="{FF2B5EF4-FFF2-40B4-BE49-F238E27FC236}">
                <a16:creationId xmlns:a16="http://schemas.microsoft.com/office/drawing/2014/main" id="{F1C974B4-7A26-4ECA-BA8F-BD644EE9ED1E}"/>
              </a:ext>
            </a:extLst>
          </p:cNvPr>
          <p:cNvSpPr>
            <a:spLocks noGrp="1"/>
          </p:cNvSpPr>
          <p:nvPr>
            <p:ph type="title"/>
          </p:nvPr>
        </p:nvSpPr>
        <p:spPr>
          <a:xfrm>
            <a:off x="638355" y="321995"/>
            <a:ext cx="10938293" cy="855691"/>
          </a:xfrm>
        </p:spPr>
        <p:txBody>
          <a:bodyPr/>
          <a:lstStyle/>
          <a:p>
            <a:r>
              <a:rPr lang="en-US">
                <a:solidFill>
                  <a:schemeClr val="tx1"/>
                </a:solidFill>
              </a:rPr>
              <a:t>Phase 4: Migration</a:t>
            </a:r>
          </a:p>
        </p:txBody>
      </p:sp>
      <p:grpSp>
        <p:nvGrpSpPr>
          <p:cNvPr id="4" name="Group 3">
            <a:extLst>
              <a:ext uri="{FF2B5EF4-FFF2-40B4-BE49-F238E27FC236}">
                <a16:creationId xmlns:a16="http://schemas.microsoft.com/office/drawing/2014/main" id="{1C5E7635-FA20-4D0F-A05F-36848780920D}"/>
              </a:ext>
            </a:extLst>
          </p:cNvPr>
          <p:cNvGrpSpPr/>
          <p:nvPr/>
        </p:nvGrpSpPr>
        <p:grpSpPr>
          <a:xfrm>
            <a:off x="374904" y="1197864"/>
            <a:ext cx="6126480" cy="2258568"/>
            <a:chOff x="105725" y="1065605"/>
            <a:chExt cx="6592824" cy="2404872"/>
          </a:xfrm>
        </p:grpSpPr>
        <p:grpSp>
          <p:nvGrpSpPr>
            <p:cNvPr id="99" name="Group 98">
              <a:extLst>
                <a:ext uri="{FF2B5EF4-FFF2-40B4-BE49-F238E27FC236}">
                  <a16:creationId xmlns:a16="http://schemas.microsoft.com/office/drawing/2014/main" id="{1CDEE627-286D-4507-BE21-C1D7AB988D26}"/>
                </a:ext>
              </a:extLst>
            </p:cNvPr>
            <p:cNvGrpSpPr/>
            <p:nvPr/>
          </p:nvGrpSpPr>
          <p:grpSpPr>
            <a:xfrm>
              <a:off x="105725" y="1065605"/>
              <a:ext cx="6592824" cy="2404872"/>
              <a:chOff x="2040080" y="1525430"/>
              <a:chExt cx="8111840" cy="2976713"/>
            </a:xfrm>
          </p:grpSpPr>
          <p:grpSp>
            <p:nvGrpSpPr>
              <p:cNvPr id="100" name="Group 99">
                <a:extLst>
                  <a:ext uri="{FF2B5EF4-FFF2-40B4-BE49-F238E27FC236}">
                    <a16:creationId xmlns:a16="http://schemas.microsoft.com/office/drawing/2014/main" id="{F216142A-8774-4029-8E17-7FA200F086A4}"/>
                  </a:ext>
                </a:extLst>
              </p:cNvPr>
              <p:cNvGrpSpPr/>
              <p:nvPr/>
            </p:nvGrpSpPr>
            <p:grpSpPr>
              <a:xfrm>
                <a:off x="2040080" y="1525430"/>
                <a:ext cx="8111840" cy="2976713"/>
                <a:chOff x="2040080" y="1525430"/>
                <a:chExt cx="8111840" cy="2976713"/>
              </a:xfrm>
            </p:grpSpPr>
            <p:pic>
              <p:nvPicPr>
                <p:cNvPr id="106" name="Picture 105">
                  <a:extLst>
                    <a:ext uri="{FF2B5EF4-FFF2-40B4-BE49-F238E27FC236}">
                      <a16:creationId xmlns:a16="http://schemas.microsoft.com/office/drawing/2014/main" id="{B93A9E46-FDD0-4B30-8471-8DEFDBD219C4}"/>
                    </a:ext>
                  </a:extLst>
                </p:cNvPr>
                <p:cNvPicPr>
                  <a:picLocks noChangeAspect="1"/>
                </p:cNvPicPr>
                <p:nvPr/>
              </p:nvPicPr>
              <p:blipFill>
                <a:blip r:embed="rId5"/>
                <a:stretch>
                  <a:fillRect/>
                </a:stretch>
              </p:blipFill>
              <p:spPr>
                <a:xfrm>
                  <a:off x="2040080" y="1525430"/>
                  <a:ext cx="8111840" cy="2958163"/>
                </a:xfrm>
                <a:prstGeom prst="rect">
                  <a:avLst/>
                </a:prstGeom>
                <a:solidFill>
                  <a:schemeClr val="bg1">
                    <a:lumMod val="95000"/>
                    <a:alpha val="51000"/>
                  </a:schemeClr>
                </a:solidFill>
                <a:ln>
                  <a:noFill/>
                </a:ln>
              </p:spPr>
            </p:pic>
            <p:sp>
              <p:nvSpPr>
                <p:cNvPr id="107" name="Freeform: Shape 106">
                  <a:hlinkClick r:id="rId4"/>
                  <a:extLst>
                    <a:ext uri="{FF2B5EF4-FFF2-40B4-BE49-F238E27FC236}">
                      <a16:creationId xmlns:a16="http://schemas.microsoft.com/office/drawing/2014/main" id="{4636C80D-2933-4161-808E-3AB5D79E049F}"/>
                    </a:ext>
                  </a:extLst>
                </p:cNvPr>
                <p:cNvSpPr/>
                <p:nvPr/>
              </p:nvSpPr>
              <p:spPr>
                <a:xfrm flipH="1">
                  <a:off x="2115757" y="1666576"/>
                  <a:ext cx="7927954" cy="2775120"/>
                </a:xfrm>
                <a:custGeom>
                  <a:avLst/>
                  <a:gdLst>
                    <a:gd name="connsiteX0" fmla="*/ 7450235 w 7927954"/>
                    <a:gd name="connsiteY0" fmla="*/ 2546120 h 2775120"/>
                    <a:gd name="connsiteX1" fmla="*/ 7340972 w 7927954"/>
                    <a:gd name="connsiteY1" fmla="*/ 2651176 h 2775120"/>
                    <a:gd name="connsiteX2" fmla="*/ 7450235 w 7927954"/>
                    <a:gd name="connsiteY2" fmla="*/ 2761690 h 2775120"/>
                    <a:gd name="connsiteX3" fmla="*/ 114966 w 7927954"/>
                    <a:gd name="connsiteY3" fmla="*/ 1980612 h 2775120"/>
                    <a:gd name="connsiteX4" fmla="*/ 34809 w 7927954"/>
                    <a:gd name="connsiteY4" fmla="*/ 1990160 h 2775120"/>
                    <a:gd name="connsiteX5" fmla="*/ 6176 w 7927954"/>
                    <a:gd name="connsiteY5" fmla="*/ 2040420 h 2775120"/>
                    <a:gd name="connsiteX6" fmla="*/ 799 w 7927954"/>
                    <a:gd name="connsiteY6" fmla="*/ 2410394 h 2775120"/>
                    <a:gd name="connsiteX7" fmla="*/ 42566 w 7927954"/>
                    <a:gd name="connsiteY7" fmla="*/ 2465214 h 2775120"/>
                    <a:gd name="connsiteX8" fmla="*/ 114966 w 7927954"/>
                    <a:gd name="connsiteY8" fmla="*/ 2481924 h 2775120"/>
                    <a:gd name="connsiteX9" fmla="*/ 114966 w 7927954"/>
                    <a:gd name="connsiteY9" fmla="*/ 1980612 h 2775120"/>
                    <a:gd name="connsiteX10" fmla="*/ 3150642 w 7927954"/>
                    <a:gd name="connsiteY10" fmla="*/ 194784 h 2775120"/>
                    <a:gd name="connsiteX11" fmla="*/ 3150642 w 7927954"/>
                    <a:gd name="connsiteY11" fmla="*/ 378160 h 2775120"/>
                    <a:gd name="connsiteX12" fmla="*/ 3103831 w 7927954"/>
                    <a:gd name="connsiteY12" fmla="*/ 378160 h 2775120"/>
                    <a:gd name="connsiteX13" fmla="*/ 3103831 w 7927954"/>
                    <a:gd name="connsiteY13" fmla="*/ 243557 h 2775120"/>
                    <a:gd name="connsiteX14" fmla="*/ 3129365 w 7927954"/>
                    <a:gd name="connsiteY14" fmla="*/ 226342 h 2775120"/>
                    <a:gd name="connsiteX15" fmla="*/ 4164860 w 7927954"/>
                    <a:gd name="connsiteY15" fmla="*/ 155315 h 2775120"/>
                    <a:gd name="connsiteX16" fmla="*/ 4164860 w 7927954"/>
                    <a:gd name="connsiteY16" fmla="*/ 2314540 h 2775120"/>
                    <a:gd name="connsiteX17" fmla="*/ 4163771 w 7927954"/>
                    <a:gd name="connsiteY17" fmla="*/ 2315580 h 2775120"/>
                    <a:gd name="connsiteX18" fmla="*/ 4163771 w 7927954"/>
                    <a:gd name="connsiteY18" fmla="*/ 351042 h 2775120"/>
                    <a:gd name="connsiteX19" fmla="*/ 4110323 w 7927954"/>
                    <a:gd name="connsiteY19" fmla="*/ 351042 h 2775120"/>
                    <a:gd name="connsiteX20" fmla="*/ 4110323 w 7927954"/>
                    <a:gd name="connsiteY20" fmla="*/ 240324 h 2775120"/>
                    <a:gd name="connsiteX21" fmla="*/ 4130544 w 7927954"/>
                    <a:gd name="connsiteY21" fmla="*/ 226691 h 2775120"/>
                    <a:gd name="connsiteX22" fmla="*/ 4158959 w 7927954"/>
                    <a:gd name="connsiteY22" fmla="*/ 184546 h 2775120"/>
                    <a:gd name="connsiteX23" fmla="*/ 1006756 w 7927954"/>
                    <a:gd name="connsiteY23" fmla="*/ 2859 h 2775120"/>
                    <a:gd name="connsiteX24" fmla="*/ 884587 w 7927954"/>
                    <a:gd name="connsiteY24" fmla="*/ 83838 h 2775120"/>
                    <a:gd name="connsiteX25" fmla="*/ 877600 w 7927954"/>
                    <a:gd name="connsiteY25" fmla="*/ 118449 h 2775120"/>
                    <a:gd name="connsiteX26" fmla="*/ 117381 w 7927954"/>
                    <a:gd name="connsiteY26" fmla="*/ 118449 h 2775120"/>
                    <a:gd name="connsiteX27" fmla="*/ 117381 w 7927954"/>
                    <a:gd name="connsiteY27" fmla="*/ 398209 h 2775120"/>
                    <a:gd name="connsiteX28" fmla="*/ 40362 w 7927954"/>
                    <a:gd name="connsiteY28" fmla="*/ 407552 h 2775120"/>
                    <a:gd name="connsiteX29" fmla="*/ 11729 w 7927954"/>
                    <a:gd name="connsiteY29" fmla="*/ 458738 h 2775120"/>
                    <a:gd name="connsiteX30" fmla="*/ 6352 w 7927954"/>
                    <a:gd name="connsiteY30" fmla="*/ 835528 h 2775120"/>
                    <a:gd name="connsiteX31" fmla="*/ 48119 w 7927954"/>
                    <a:gd name="connsiteY31" fmla="*/ 891358 h 2775120"/>
                    <a:gd name="connsiteX32" fmla="*/ 117381 w 7927954"/>
                    <a:gd name="connsiteY32" fmla="*/ 907638 h 2775120"/>
                    <a:gd name="connsiteX33" fmla="*/ 117381 w 7927954"/>
                    <a:gd name="connsiteY33" fmla="*/ 918379 h 2775120"/>
                    <a:gd name="connsiteX34" fmla="*/ 39958 w 7927954"/>
                    <a:gd name="connsiteY34" fmla="*/ 927771 h 2775120"/>
                    <a:gd name="connsiteX35" fmla="*/ 11325 w 7927954"/>
                    <a:gd name="connsiteY35" fmla="*/ 978957 h 2775120"/>
                    <a:gd name="connsiteX36" fmla="*/ 5948 w 7927954"/>
                    <a:gd name="connsiteY36" fmla="*/ 1355748 h 2775120"/>
                    <a:gd name="connsiteX37" fmla="*/ 47715 w 7927954"/>
                    <a:gd name="connsiteY37" fmla="*/ 1411578 h 2775120"/>
                    <a:gd name="connsiteX38" fmla="*/ 117381 w 7927954"/>
                    <a:gd name="connsiteY38" fmla="*/ 1427953 h 2775120"/>
                    <a:gd name="connsiteX39" fmla="*/ 117381 w 7927954"/>
                    <a:gd name="connsiteY39" fmla="*/ 1453975 h 2775120"/>
                    <a:gd name="connsiteX40" fmla="*/ 40362 w 7927954"/>
                    <a:gd name="connsiteY40" fmla="*/ 1463127 h 2775120"/>
                    <a:gd name="connsiteX41" fmla="*/ 11729 w 7927954"/>
                    <a:gd name="connsiteY41" fmla="*/ 1513268 h 2775120"/>
                    <a:gd name="connsiteX42" fmla="*/ 6352 w 7927954"/>
                    <a:gd name="connsiteY42" fmla="*/ 1882364 h 2775120"/>
                    <a:gd name="connsiteX43" fmla="*/ 48119 w 7927954"/>
                    <a:gd name="connsiteY43" fmla="*/ 1937054 h 2775120"/>
                    <a:gd name="connsiteX44" fmla="*/ 117381 w 7927954"/>
                    <a:gd name="connsiteY44" fmla="*/ 1953002 h 2775120"/>
                    <a:gd name="connsiteX45" fmla="*/ 117381 w 7927954"/>
                    <a:gd name="connsiteY45" fmla="*/ 2645208 h 2775120"/>
                    <a:gd name="connsiteX46" fmla="*/ 1077062 w 7927954"/>
                    <a:gd name="connsiteY46" fmla="*/ 2645208 h 2775120"/>
                    <a:gd name="connsiteX47" fmla="*/ 1077062 w 7927954"/>
                    <a:gd name="connsiteY47" fmla="*/ 245010 h 2775120"/>
                    <a:gd name="connsiteX48" fmla="*/ 1100510 w 7927954"/>
                    <a:gd name="connsiteY48" fmla="*/ 229201 h 2775120"/>
                    <a:gd name="connsiteX49" fmla="*/ 1139344 w 7927954"/>
                    <a:gd name="connsiteY49" fmla="*/ 135447 h 2775120"/>
                    <a:gd name="connsiteX50" fmla="*/ 1006756 w 7927954"/>
                    <a:gd name="connsiteY50" fmla="*/ 2859 h 2775120"/>
                    <a:gd name="connsiteX51" fmla="*/ 6061014 w 7927954"/>
                    <a:gd name="connsiteY51" fmla="*/ 2859 h 2775120"/>
                    <a:gd name="connsiteX52" fmla="*/ 5938845 w 7927954"/>
                    <a:gd name="connsiteY52" fmla="*/ 83838 h 2775120"/>
                    <a:gd name="connsiteX53" fmla="*/ 5931858 w 7927954"/>
                    <a:gd name="connsiteY53" fmla="*/ 118448 h 2775120"/>
                    <a:gd name="connsiteX54" fmla="*/ 5182241 w 7927954"/>
                    <a:gd name="connsiteY54" fmla="*/ 118448 h 2775120"/>
                    <a:gd name="connsiteX55" fmla="*/ 5182241 w 7927954"/>
                    <a:gd name="connsiteY55" fmla="*/ 132588 h 2775120"/>
                    <a:gd name="connsiteX56" fmla="*/ 5182241 w 7927954"/>
                    <a:gd name="connsiteY56" fmla="*/ 2645207 h 2775120"/>
                    <a:gd name="connsiteX57" fmla="*/ 6124625 w 7927954"/>
                    <a:gd name="connsiteY57" fmla="*/ 2645207 h 2775120"/>
                    <a:gd name="connsiteX58" fmla="*/ 6124625 w 7927954"/>
                    <a:gd name="connsiteY58" fmla="*/ 2480741 h 2775120"/>
                    <a:gd name="connsiteX59" fmla="*/ 7618467 w 7927954"/>
                    <a:gd name="connsiteY59" fmla="*/ 2483114 h 2775120"/>
                    <a:gd name="connsiteX60" fmla="*/ 7898107 w 7927954"/>
                    <a:gd name="connsiteY60" fmla="*/ 2433186 h 2775120"/>
                    <a:gd name="connsiteX61" fmla="*/ 7888547 w 7927954"/>
                    <a:gd name="connsiteY61" fmla="*/ 1997416 h 2775120"/>
                    <a:gd name="connsiteX62" fmla="*/ 7628026 w 7927954"/>
                    <a:gd name="connsiteY62" fmla="*/ 1982993 h 2775120"/>
                    <a:gd name="connsiteX63" fmla="*/ 6124625 w 7927954"/>
                    <a:gd name="connsiteY63" fmla="*/ 1980619 h 2775120"/>
                    <a:gd name="connsiteX64" fmla="*/ 6124625 w 7927954"/>
                    <a:gd name="connsiteY64" fmla="*/ 1953731 h 2775120"/>
                    <a:gd name="connsiteX65" fmla="*/ 7618465 w 7927954"/>
                    <a:gd name="connsiteY65" fmla="*/ 1956104 h 2775120"/>
                    <a:gd name="connsiteX66" fmla="*/ 7898106 w 7927954"/>
                    <a:gd name="connsiteY66" fmla="*/ 1906176 h 2775120"/>
                    <a:gd name="connsiteX67" fmla="*/ 7888545 w 7927954"/>
                    <a:gd name="connsiteY67" fmla="*/ 1470406 h 2775120"/>
                    <a:gd name="connsiteX68" fmla="*/ 7628025 w 7927954"/>
                    <a:gd name="connsiteY68" fmla="*/ 1455983 h 2775120"/>
                    <a:gd name="connsiteX69" fmla="*/ 6124625 w 7927954"/>
                    <a:gd name="connsiteY69" fmla="*/ 1453609 h 2775120"/>
                    <a:gd name="connsiteX70" fmla="*/ 6124625 w 7927954"/>
                    <a:gd name="connsiteY70" fmla="*/ 1418176 h 2775120"/>
                    <a:gd name="connsiteX71" fmla="*/ 7618465 w 7927954"/>
                    <a:gd name="connsiteY71" fmla="*/ 1420549 h 2775120"/>
                    <a:gd name="connsiteX72" fmla="*/ 7898105 w 7927954"/>
                    <a:gd name="connsiteY72" fmla="*/ 1370621 h 2775120"/>
                    <a:gd name="connsiteX73" fmla="*/ 7888545 w 7927954"/>
                    <a:gd name="connsiteY73" fmla="*/ 934851 h 2775120"/>
                    <a:gd name="connsiteX74" fmla="*/ 7628024 w 7927954"/>
                    <a:gd name="connsiteY74" fmla="*/ 920428 h 2775120"/>
                    <a:gd name="connsiteX75" fmla="*/ 6124625 w 7927954"/>
                    <a:gd name="connsiteY75" fmla="*/ 918054 h 2775120"/>
                    <a:gd name="connsiteX76" fmla="*/ 6124625 w 7927954"/>
                    <a:gd name="connsiteY76" fmla="*/ 895575 h 2775120"/>
                    <a:gd name="connsiteX77" fmla="*/ 7620844 w 7927954"/>
                    <a:gd name="connsiteY77" fmla="*/ 897951 h 2775120"/>
                    <a:gd name="connsiteX78" fmla="*/ 7900485 w 7927954"/>
                    <a:gd name="connsiteY78" fmla="*/ 848023 h 2775120"/>
                    <a:gd name="connsiteX79" fmla="*/ 7890924 w 7927954"/>
                    <a:gd name="connsiteY79" fmla="*/ 412253 h 2775120"/>
                    <a:gd name="connsiteX80" fmla="*/ 7630403 w 7927954"/>
                    <a:gd name="connsiteY80" fmla="*/ 397830 h 2775120"/>
                    <a:gd name="connsiteX81" fmla="*/ 6124625 w 7927954"/>
                    <a:gd name="connsiteY81" fmla="*/ 395453 h 2775120"/>
                    <a:gd name="connsiteX82" fmla="*/ 6124625 w 7927954"/>
                    <a:gd name="connsiteY82" fmla="*/ 249523 h 2775120"/>
                    <a:gd name="connsiteX83" fmla="*/ 6154767 w 7927954"/>
                    <a:gd name="connsiteY83" fmla="*/ 229201 h 2775120"/>
                    <a:gd name="connsiteX84" fmla="*/ 6193601 w 7927954"/>
                    <a:gd name="connsiteY84" fmla="*/ 135447 h 2775120"/>
                    <a:gd name="connsiteX85" fmla="*/ 6061014 w 7927954"/>
                    <a:gd name="connsiteY85" fmla="*/ 2859 h 2775120"/>
                    <a:gd name="connsiteX86" fmla="*/ 5049653 w 7927954"/>
                    <a:gd name="connsiteY86" fmla="*/ 0 h 2775120"/>
                    <a:gd name="connsiteX87" fmla="*/ 4927485 w 7927954"/>
                    <a:gd name="connsiteY87" fmla="*/ 80979 h 2775120"/>
                    <a:gd name="connsiteX88" fmla="*/ 4919920 w 7927954"/>
                    <a:gd name="connsiteY88" fmla="*/ 118449 h 2775120"/>
                    <a:gd name="connsiteX89" fmla="*/ 4166453 w 7927954"/>
                    <a:gd name="connsiteY89" fmla="*/ 118449 h 2775120"/>
                    <a:gd name="connsiteX90" fmla="*/ 4158959 w 7927954"/>
                    <a:gd name="connsiteY90" fmla="*/ 81328 h 2775120"/>
                    <a:gd name="connsiteX91" fmla="*/ 4036790 w 7927954"/>
                    <a:gd name="connsiteY91" fmla="*/ 349 h 2775120"/>
                    <a:gd name="connsiteX92" fmla="*/ 3914622 w 7927954"/>
                    <a:gd name="connsiteY92" fmla="*/ 81328 h 2775120"/>
                    <a:gd name="connsiteX93" fmla="*/ 3905371 w 7927954"/>
                    <a:gd name="connsiteY93" fmla="*/ 127146 h 2775120"/>
                    <a:gd name="connsiteX94" fmla="*/ 3167101 w 7927954"/>
                    <a:gd name="connsiteY94" fmla="*/ 127146 h 2775120"/>
                    <a:gd name="connsiteX95" fmla="*/ 3157780 w 7927954"/>
                    <a:gd name="connsiteY95" fmla="*/ 80979 h 2775120"/>
                    <a:gd name="connsiteX96" fmla="*/ 3035611 w 7927954"/>
                    <a:gd name="connsiteY96" fmla="*/ 0 h 2775120"/>
                    <a:gd name="connsiteX97" fmla="*/ 2913443 w 7927954"/>
                    <a:gd name="connsiteY97" fmla="*/ 80979 h 2775120"/>
                    <a:gd name="connsiteX98" fmla="*/ 2904122 w 7927954"/>
                    <a:gd name="connsiteY98" fmla="*/ 127146 h 2775120"/>
                    <a:gd name="connsiteX99" fmla="*/ 2144150 w 7927954"/>
                    <a:gd name="connsiteY99" fmla="*/ 127146 h 2775120"/>
                    <a:gd name="connsiteX100" fmla="*/ 2144150 w 7927954"/>
                    <a:gd name="connsiteY100" fmla="*/ 2316233 h 2775120"/>
                    <a:gd name="connsiteX101" fmla="*/ 1933305 w 7927954"/>
                    <a:gd name="connsiteY101" fmla="*/ 2513665 h 2775120"/>
                    <a:gd name="connsiteX102" fmla="*/ 2213607 w 7927954"/>
                    <a:gd name="connsiteY102" fmla="*/ 2775120 h 2775120"/>
                    <a:gd name="connsiteX103" fmla="*/ 2213607 w 7927954"/>
                    <a:gd name="connsiteY103" fmla="*/ 2653905 h 2775120"/>
                    <a:gd name="connsiteX104" fmla="*/ 3103831 w 7927954"/>
                    <a:gd name="connsiteY104" fmla="*/ 2653905 h 2775120"/>
                    <a:gd name="connsiteX105" fmla="*/ 3103831 w 7927954"/>
                    <a:gd name="connsiteY105" fmla="*/ 2638915 h 2775120"/>
                    <a:gd name="connsiteX106" fmla="*/ 3232246 w 7927954"/>
                    <a:gd name="connsiteY106" fmla="*/ 2764378 h 2775120"/>
                    <a:gd name="connsiteX107" fmla="*/ 3232246 w 7927954"/>
                    <a:gd name="connsiteY107" fmla="*/ 2653905 h 2775120"/>
                    <a:gd name="connsiteX108" fmla="*/ 4110323 w 7927954"/>
                    <a:gd name="connsiteY108" fmla="*/ 2653905 h 2775120"/>
                    <a:gd name="connsiteX109" fmla="*/ 4110323 w 7927954"/>
                    <a:gd name="connsiteY109" fmla="*/ 2649214 h 2775120"/>
                    <a:gd name="connsiteX110" fmla="*/ 4231169 w 7927954"/>
                    <a:gd name="connsiteY110" fmla="*/ 2770364 h 2775120"/>
                    <a:gd name="connsiteX111" fmla="*/ 4231169 w 7927954"/>
                    <a:gd name="connsiteY111" fmla="*/ 2645208 h 2775120"/>
                    <a:gd name="connsiteX112" fmla="*/ 5124541 w 7927954"/>
                    <a:gd name="connsiteY112" fmla="*/ 2645208 h 2775120"/>
                    <a:gd name="connsiteX113" fmla="*/ 5124541 w 7927954"/>
                    <a:gd name="connsiteY113" fmla="*/ 2473940 h 2775120"/>
                    <a:gd name="connsiteX114" fmla="*/ 5181379 w 7927954"/>
                    <a:gd name="connsiteY114" fmla="*/ 2473940 h 2775120"/>
                    <a:gd name="connsiteX115" fmla="*/ 5181379 w 7927954"/>
                    <a:gd name="connsiteY115" fmla="*/ 394974 h 2775120"/>
                    <a:gd name="connsiteX116" fmla="*/ 5124541 w 7927954"/>
                    <a:gd name="connsiteY116" fmla="*/ 394974 h 2775120"/>
                    <a:gd name="connsiteX117" fmla="*/ 5124541 w 7927954"/>
                    <a:gd name="connsiteY117" fmla="*/ 239061 h 2775120"/>
                    <a:gd name="connsiteX118" fmla="*/ 5143407 w 7927954"/>
                    <a:gd name="connsiteY118" fmla="*/ 226342 h 2775120"/>
                    <a:gd name="connsiteX119" fmla="*/ 5182241 w 7927954"/>
                    <a:gd name="connsiteY119" fmla="*/ 132588 h 2775120"/>
                    <a:gd name="connsiteX120" fmla="*/ 5049653 w 7927954"/>
                    <a:gd name="connsiteY120" fmla="*/ 0 h 277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7927954" h="2775120">
                      <a:moveTo>
                        <a:pt x="7450235" y="2546120"/>
                      </a:moveTo>
                      <a:lnTo>
                        <a:pt x="7340972" y="2651176"/>
                      </a:lnTo>
                      <a:lnTo>
                        <a:pt x="7450235" y="2761690"/>
                      </a:lnTo>
                      <a:close/>
                      <a:moveTo>
                        <a:pt x="114966" y="1980612"/>
                      </a:moveTo>
                      <a:lnTo>
                        <a:pt x="34809" y="1990160"/>
                      </a:lnTo>
                      <a:cubicBezTo>
                        <a:pt x="14681" y="1999332"/>
                        <a:pt x="16049" y="2008187"/>
                        <a:pt x="6176" y="2040420"/>
                      </a:cubicBezTo>
                      <a:cubicBezTo>
                        <a:pt x="3695" y="2096933"/>
                        <a:pt x="-2117" y="2331241"/>
                        <a:pt x="799" y="2410394"/>
                      </a:cubicBezTo>
                      <a:cubicBezTo>
                        <a:pt x="34671" y="2477613"/>
                        <a:pt x="24561" y="2448121"/>
                        <a:pt x="42566" y="2465214"/>
                      </a:cubicBezTo>
                      <a:lnTo>
                        <a:pt x="114966" y="2481924"/>
                      </a:lnTo>
                      <a:cubicBezTo>
                        <a:pt x="115069" y="2315615"/>
                        <a:pt x="114864" y="2146921"/>
                        <a:pt x="114966" y="1980612"/>
                      </a:cubicBezTo>
                      <a:close/>
                      <a:moveTo>
                        <a:pt x="3150642" y="194784"/>
                      </a:moveTo>
                      <a:lnTo>
                        <a:pt x="3150642" y="378160"/>
                      </a:lnTo>
                      <a:lnTo>
                        <a:pt x="3103831" y="378160"/>
                      </a:lnTo>
                      <a:lnTo>
                        <a:pt x="3103831" y="243557"/>
                      </a:lnTo>
                      <a:lnTo>
                        <a:pt x="3129365" y="226342"/>
                      </a:lnTo>
                      <a:close/>
                      <a:moveTo>
                        <a:pt x="4164860" y="155315"/>
                      </a:moveTo>
                      <a:lnTo>
                        <a:pt x="4164860" y="2314540"/>
                      </a:lnTo>
                      <a:lnTo>
                        <a:pt x="4163771" y="2315580"/>
                      </a:lnTo>
                      <a:lnTo>
                        <a:pt x="4163771" y="351042"/>
                      </a:lnTo>
                      <a:lnTo>
                        <a:pt x="4110323" y="351042"/>
                      </a:lnTo>
                      <a:lnTo>
                        <a:pt x="4110323" y="240324"/>
                      </a:lnTo>
                      <a:lnTo>
                        <a:pt x="4130544" y="226691"/>
                      </a:lnTo>
                      <a:cubicBezTo>
                        <a:pt x="4142541" y="214694"/>
                        <a:pt x="4152249" y="200409"/>
                        <a:pt x="4158959" y="184546"/>
                      </a:cubicBezTo>
                      <a:close/>
                      <a:moveTo>
                        <a:pt x="1006756" y="2859"/>
                      </a:moveTo>
                      <a:cubicBezTo>
                        <a:pt x="951836" y="2859"/>
                        <a:pt x="904715" y="36250"/>
                        <a:pt x="884587" y="83838"/>
                      </a:cubicBezTo>
                      <a:lnTo>
                        <a:pt x="877600" y="118449"/>
                      </a:lnTo>
                      <a:lnTo>
                        <a:pt x="117381" y="118449"/>
                      </a:lnTo>
                      <a:lnTo>
                        <a:pt x="117381" y="398209"/>
                      </a:lnTo>
                      <a:lnTo>
                        <a:pt x="40362" y="407552"/>
                      </a:lnTo>
                      <a:cubicBezTo>
                        <a:pt x="20234" y="416892"/>
                        <a:pt x="21602" y="425910"/>
                        <a:pt x="11729" y="458738"/>
                      </a:cubicBezTo>
                      <a:cubicBezTo>
                        <a:pt x="9248" y="516292"/>
                        <a:pt x="3436" y="754917"/>
                        <a:pt x="6352" y="835528"/>
                      </a:cubicBezTo>
                      <a:cubicBezTo>
                        <a:pt x="40224" y="903984"/>
                        <a:pt x="30114" y="873949"/>
                        <a:pt x="48119" y="891358"/>
                      </a:cubicBezTo>
                      <a:lnTo>
                        <a:pt x="117381" y="907638"/>
                      </a:lnTo>
                      <a:lnTo>
                        <a:pt x="117381" y="918379"/>
                      </a:lnTo>
                      <a:lnTo>
                        <a:pt x="39958" y="927771"/>
                      </a:lnTo>
                      <a:cubicBezTo>
                        <a:pt x="19830" y="937111"/>
                        <a:pt x="21198" y="946130"/>
                        <a:pt x="11325" y="978957"/>
                      </a:cubicBezTo>
                      <a:cubicBezTo>
                        <a:pt x="8844" y="1036511"/>
                        <a:pt x="3032" y="1275136"/>
                        <a:pt x="5948" y="1355748"/>
                      </a:cubicBezTo>
                      <a:cubicBezTo>
                        <a:pt x="39820" y="1424204"/>
                        <a:pt x="29710" y="1394169"/>
                        <a:pt x="47715" y="1411578"/>
                      </a:cubicBezTo>
                      <a:lnTo>
                        <a:pt x="117381" y="1427953"/>
                      </a:lnTo>
                      <a:lnTo>
                        <a:pt x="117381" y="1453975"/>
                      </a:lnTo>
                      <a:lnTo>
                        <a:pt x="40362" y="1463127"/>
                      </a:lnTo>
                      <a:cubicBezTo>
                        <a:pt x="20234" y="1472277"/>
                        <a:pt x="21602" y="1481111"/>
                        <a:pt x="11729" y="1513268"/>
                      </a:cubicBezTo>
                      <a:cubicBezTo>
                        <a:pt x="9248" y="1569647"/>
                        <a:pt x="3436" y="1803399"/>
                        <a:pt x="6352" y="1882364"/>
                      </a:cubicBezTo>
                      <a:cubicBezTo>
                        <a:pt x="40224" y="1949423"/>
                        <a:pt x="30114" y="1920001"/>
                        <a:pt x="48119" y="1937054"/>
                      </a:cubicBezTo>
                      <a:lnTo>
                        <a:pt x="117381" y="1953002"/>
                      </a:lnTo>
                      <a:lnTo>
                        <a:pt x="117381" y="2645208"/>
                      </a:lnTo>
                      <a:lnTo>
                        <a:pt x="1077062" y="2645208"/>
                      </a:lnTo>
                      <a:lnTo>
                        <a:pt x="1077062" y="245010"/>
                      </a:lnTo>
                      <a:lnTo>
                        <a:pt x="1100510" y="229201"/>
                      </a:lnTo>
                      <a:cubicBezTo>
                        <a:pt x="1124504" y="205207"/>
                        <a:pt x="1139344" y="172060"/>
                        <a:pt x="1139344" y="135447"/>
                      </a:cubicBezTo>
                      <a:cubicBezTo>
                        <a:pt x="1139344" y="62221"/>
                        <a:pt x="1079982" y="2859"/>
                        <a:pt x="1006756" y="2859"/>
                      </a:cubicBezTo>
                      <a:close/>
                      <a:moveTo>
                        <a:pt x="6061014" y="2859"/>
                      </a:moveTo>
                      <a:cubicBezTo>
                        <a:pt x="6006094" y="2859"/>
                        <a:pt x="5958973" y="36250"/>
                        <a:pt x="5938845" y="83838"/>
                      </a:cubicBezTo>
                      <a:lnTo>
                        <a:pt x="5931858" y="118448"/>
                      </a:lnTo>
                      <a:lnTo>
                        <a:pt x="5182241" y="118448"/>
                      </a:lnTo>
                      <a:lnTo>
                        <a:pt x="5182241" y="132588"/>
                      </a:lnTo>
                      <a:lnTo>
                        <a:pt x="5182241" y="2645207"/>
                      </a:lnTo>
                      <a:lnTo>
                        <a:pt x="6124625" y="2645207"/>
                      </a:lnTo>
                      <a:lnTo>
                        <a:pt x="6124625" y="2480741"/>
                      </a:lnTo>
                      <a:lnTo>
                        <a:pt x="7618467" y="2483114"/>
                      </a:lnTo>
                      <a:cubicBezTo>
                        <a:pt x="7898881" y="2466061"/>
                        <a:pt x="7852695" y="2512151"/>
                        <a:pt x="7898107" y="2433186"/>
                      </a:cubicBezTo>
                      <a:cubicBezTo>
                        <a:pt x="7943519" y="2354221"/>
                        <a:pt x="7927187" y="2053795"/>
                        <a:pt x="7888547" y="1997416"/>
                      </a:cubicBezTo>
                      <a:cubicBezTo>
                        <a:pt x="7734782" y="1965259"/>
                        <a:pt x="7941504" y="1992143"/>
                        <a:pt x="7628026" y="1982993"/>
                      </a:cubicBezTo>
                      <a:lnTo>
                        <a:pt x="6124625" y="1980619"/>
                      </a:lnTo>
                      <a:lnTo>
                        <a:pt x="6124625" y="1953731"/>
                      </a:lnTo>
                      <a:lnTo>
                        <a:pt x="7618465" y="1956104"/>
                      </a:lnTo>
                      <a:cubicBezTo>
                        <a:pt x="7898879" y="1939051"/>
                        <a:pt x="7852693" y="1985141"/>
                        <a:pt x="7898106" y="1906176"/>
                      </a:cubicBezTo>
                      <a:cubicBezTo>
                        <a:pt x="7943518" y="1827211"/>
                        <a:pt x="7927186" y="1526785"/>
                        <a:pt x="7888545" y="1470406"/>
                      </a:cubicBezTo>
                      <a:cubicBezTo>
                        <a:pt x="7734781" y="1438249"/>
                        <a:pt x="7941503" y="1465133"/>
                        <a:pt x="7628025" y="1455983"/>
                      </a:cubicBezTo>
                      <a:lnTo>
                        <a:pt x="6124625" y="1453609"/>
                      </a:lnTo>
                      <a:lnTo>
                        <a:pt x="6124625" y="1418176"/>
                      </a:lnTo>
                      <a:lnTo>
                        <a:pt x="7618465" y="1420549"/>
                      </a:lnTo>
                      <a:cubicBezTo>
                        <a:pt x="7898879" y="1403496"/>
                        <a:pt x="7852693" y="1449586"/>
                        <a:pt x="7898105" y="1370621"/>
                      </a:cubicBezTo>
                      <a:cubicBezTo>
                        <a:pt x="7943516" y="1291656"/>
                        <a:pt x="7927185" y="991230"/>
                        <a:pt x="7888545" y="934851"/>
                      </a:cubicBezTo>
                      <a:cubicBezTo>
                        <a:pt x="7734780" y="902694"/>
                        <a:pt x="7941502" y="929578"/>
                        <a:pt x="7628024" y="920428"/>
                      </a:cubicBezTo>
                      <a:lnTo>
                        <a:pt x="6124625" y="918054"/>
                      </a:lnTo>
                      <a:lnTo>
                        <a:pt x="6124625" y="895575"/>
                      </a:lnTo>
                      <a:lnTo>
                        <a:pt x="7620844" y="897951"/>
                      </a:lnTo>
                      <a:cubicBezTo>
                        <a:pt x="7901258" y="880898"/>
                        <a:pt x="7855072" y="926988"/>
                        <a:pt x="7900485" y="848023"/>
                      </a:cubicBezTo>
                      <a:cubicBezTo>
                        <a:pt x="7945897" y="769058"/>
                        <a:pt x="7929564" y="468632"/>
                        <a:pt x="7890924" y="412253"/>
                      </a:cubicBezTo>
                      <a:cubicBezTo>
                        <a:pt x="7737159" y="380096"/>
                        <a:pt x="7943881" y="406980"/>
                        <a:pt x="7630403" y="397830"/>
                      </a:cubicBezTo>
                      <a:lnTo>
                        <a:pt x="6124625" y="395453"/>
                      </a:lnTo>
                      <a:lnTo>
                        <a:pt x="6124625" y="249523"/>
                      </a:lnTo>
                      <a:lnTo>
                        <a:pt x="6154767" y="229201"/>
                      </a:lnTo>
                      <a:cubicBezTo>
                        <a:pt x="6178761" y="205207"/>
                        <a:pt x="6193601" y="172060"/>
                        <a:pt x="6193601" y="135447"/>
                      </a:cubicBezTo>
                      <a:cubicBezTo>
                        <a:pt x="6193601" y="62221"/>
                        <a:pt x="6134239" y="2859"/>
                        <a:pt x="6061014" y="2859"/>
                      </a:cubicBezTo>
                      <a:close/>
                      <a:moveTo>
                        <a:pt x="5049653" y="0"/>
                      </a:moveTo>
                      <a:cubicBezTo>
                        <a:pt x="4994734" y="0"/>
                        <a:pt x="4947613" y="33391"/>
                        <a:pt x="4927485" y="80979"/>
                      </a:cubicBezTo>
                      <a:lnTo>
                        <a:pt x="4919920" y="118449"/>
                      </a:lnTo>
                      <a:lnTo>
                        <a:pt x="4166453" y="118449"/>
                      </a:lnTo>
                      <a:lnTo>
                        <a:pt x="4158959" y="81328"/>
                      </a:lnTo>
                      <a:cubicBezTo>
                        <a:pt x="4138831" y="33740"/>
                        <a:pt x="4091710" y="349"/>
                        <a:pt x="4036790" y="349"/>
                      </a:cubicBezTo>
                      <a:cubicBezTo>
                        <a:pt x="3981871" y="349"/>
                        <a:pt x="3934750" y="33740"/>
                        <a:pt x="3914622" y="81328"/>
                      </a:cubicBezTo>
                      <a:lnTo>
                        <a:pt x="3905371" y="127146"/>
                      </a:lnTo>
                      <a:lnTo>
                        <a:pt x="3167101" y="127146"/>
                      </a:lnTo>
                      <a:lnTo>
                        <a:pt x="3157780" y="80979"/>
                      </a:lnTo>
                      <a:cubicBezTo>
                        <a:pt x="3137652" y="33391"/>
                        <a:pt x="3090531" y="0"/>
                        <a:pt x="3035611" y="0"/>
                      </a:cubicBezTo>
                      <a:cubicBezTo>
                        <a:pt x="2980692" y="0"/>
                        <a:pt x="2933571" y="33391"/>
                        <a:pt x="2913443" y="80979"/>
                      </a:cubicBezTo>
                      <a:lnTo>
                        <a:pt x="2904122" y="127146"/>
                      </a:lnTo>
                      <a:lnTo>
                        <a:pt x="2144150" y="127146"/>
                      </a:lnTo>
                      <a:lnTo>
                        <a:pt x="2144150" y="2316233"/>
                      </a:lnTo>
                      <a:lnTo>
                        <a:pt x="1933305" y="2513665"/>
                      </a:lnTo>
                      <a:lnTo>
                        <a:pt x="2213607" y="2775120"/>
                      </a:lnTo>
                      <a:lnTo>
                        <a:pt x="2213607" y="2653905"/>
                      </a:lnTo>
                      <a:lnTo>
                        <a:pt x="3103831" y="2653905"/>
                      </a:lnTo>
                      <a:lnTo>
                        <a:pt x="3103831" y="2638915"/>
                      </a:lnTo>
                      <a:lnTo>
                        <a:pt x="3232246" y="2764378"/>
                      </a:lnTo>
                      <a:lnTo>
                        <a:pt x="3232246" y="2653905"/>
                      </a:lnTo>
                      <a:lnTo>
                        <a:pt x="4110323" y="2653905"/>
                      </a:lnTo>
                      <a:lnTo>
                        <a:pt x="4110323" y="2649214"/>
                      </a:lnTo>
                      <a:lnTo>
                        <a:pt x="4231169" y="2770364"/>
                      </a:lnTo>
                      <a:lnTo>
                        <a:pt x="4231169" y="2645208"/>
                      </a:lnTo>
                      <a:lnTo>
                        <a:pt x="5124541" y="2645208"/>
                      </a:lnTo>
                      <a:lnTo>
                        <a:pt x="5124541" y="2473940"/>
                      </a:lnTo>
                      <a:lnTo>
                        <a:pt x="5181379" y="2473940"/>
                      </a:lnTo>
                      <a:lnTo>
                        <a:pt x="5181379" y="394974"/>
                      </a:lnTo>
                      <a:lnTo>
                        <a:pt x="5124541" y="394974"/>
                      </a:lnTo>
                      <a:lnTo>
                        <a:pt x="5124541" y="239061"/>
                      </a:lnTo>
                      <a:lnTo>
                        <a:pt x="5143407" y="226342"/>
                      </a:lnTo>
                      <a:cubicBezTo>
                        <a:pt x="5167401" y="202348"/>
                        <a:pt x="5182241" y="169201"/>
                        <a:pt x="5182241" y="132588"/>
                      </a:cubicBezTo>
                      <a:cubicBezTo>
                        <a:pt x="5182241" y="59362"/>
                        <a:pt x="5122879" y="0"/>
                        <a:pt x="5049653" y="0"/>
                      </a:cubicBezTo>
                      <a:close/>
                    </a:path>
                  </a:pathLst>
                </a:cu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08" name="Isosceles Triangle 107">
                  <a:extLst>
                    <a:ext uri="{FF2B5EF4-FFF2-40B4-BE49-F238E27FC236}">
                      <a16:creationId xmlns:a16="http://schemas.microsoft.com/office/drawing/2014/main" id="{F8033150-1CFA-4B7E-904D-4D035FF602A4}"/>
                    </a:ext>
                  </a:extLst>
                </p:cNvPr>
                <p:cNvSpPr/>
                <p:nvPr/>
              </p:nvSpPr>
              <p:spPr>
                <a:xfrm rot="5400000">
                  <a:off x="8704030" y="4046749"/>
                  <a:ext cx="535106" cy="265177"/>
                </a:xfrm>
                <a:prstGeom prst="triangle">
                  <a:avLst>
                    <a:gd name="adj" fmla="val 48734"/>
                  </a:avLst>
                </a:prstGeom>
                <a:solidFill>
                  <a:srgbClr val="D258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09" name="Rectangle 108">
                  <a:extLst>
                    <a:ext uri="{FF2B5EF4-FFF2-40B4-BE49-F238E27FC236}">
                      <a16:creationId xmlns:a16="http://schemas.microsoft.com/office/drawing/2014/main" id="{BC85F747-C3DA-44B4-BBE5-A4967EBE9700}"/>
                    </a:ext>
                  </a:extLst>
                </p:cNvPr>
                <p:cNvSpPr/>
                <p:nvPr/>
              </p:nvSpPr>
              <p:spPr>
                <a:xfrm>
                  <a:off x="2749850" y="4204107"/>
                  <a:ext cx="927701" cy="298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101" name="Oval 100">
                <a:extLst>
                  <a:ext uri="{FF2B5EF4-FFF2-40B4-BE49-F238E27FC236}">
                    <a16:creationId xmlns:a16="http://schemas.microsoft.com/office/drawing/2014/main" id="{2DCBE36B-3A73-4909-AA5A-74D0B148B0AF}"/>
                  </a:ext>
                </a:extLst>
              </p:cNvPr>
              <p:cNvSpPr/>
              <p:nvPr/>
            </p:nvSpPr>
            <p:spPr>
              <a:xfrm>
                <a:off x="4856107" y="1664820"/>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02" name="Oval 101">
                <a:extLst>
                  <a:ext uri="{FF2B5EF4-FFF2-40B4-BE49-F238E27FC236}">
                    <a16:creationId xmlns:a16="http://schemas.microsoft.com/office/drawing/2014/main" id="{33A09D78-E8E7-451B-B526-0E78B282CBF8}"/>
                  </a:ext>
                </a:extLst>
              </p:cNvPr>
              <p:cNvSpPr/>
              <p:nvPr/>
            </p:nvSpPr>
            <p:spPr>
              <a:xfrm>
                <a:off x="5869276" y="1664819"/>
                <a:ext cx="274368" cy="275105"/>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03" name="Oval 102">
                <a:extLst>
                  <a:ext uri="{FF2B5EF4-FFF2-40B4-BE49-F238E27FC236}">
                    <a16:creationId xmlns:a16="http://schemas.microsoft.com/office/drawing/2014/main" id="{C790CD82-C4B1-4CB9-844F-C774EA22071F}"/>
                  </a:ext>
                </a:extLst>
              </p:cNvPr>
              <p:cNvSpPr/>
              <p:nvPr/>
            </p:nvSpPr>
            <p:spPr>
              <a:xfrm>
                <a:off x="6875065" y="1663726"/>
                <a:ext cx="265176" cy="263588"/>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04" name="Oval 103">
                <a:extLst>
                  <a:ext uri="{FF2B5EF4-FFF2-40B4-BE49-F238E27FC236}">
                    <a16:creationId xmlns:a16="http://schemas.microsoft.com/office/drawing/2014/main" id="{52A90907-CF03-4DF2-9E40-7858FCAA7748}"/>
                  </a:ext>
                </a:extLst>
              </p:cNvPr>
              <p:cNvSpPr/>
              <p:nvPr/>
            </p:nvSpPr>
            <p:spPr>
              <a:xfrm>
                <a:off x="3849576" y="1667178"/>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05" name="Oval 104">
                <a:extLst>
                  <a:ext uri="{FF2B5EF4-FFF2-40B4-BE49-F238E27FC236}">
                    <a16:creationId xmlns:a16="http://schemas.microsoft.com/office/drawing/2014/main" id="{341E2553-C87D-4C92-89DD-A780B72E03EE}"/>
                  </a:ext>
                </a:extLst>
              </p:cNvPr>
              <p:cNvSpPr/>
              <p:nvPr/>
            </p:nvSpPr>
            <p:spPr>
              <a:xfrm>
                <a:off x="8903215" y="1662138"/>
                <a:ext cx="274368" cy="277787"/>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110" name="TextBox 109">
              <a:extLst>
                <a:ext uri="{FF2B5EF4-FFF2-40B4-BE49-F238E27FC236}">
                  <a16:creationId xmlns:a16="http://schemas.microsoft.com/office/drawing/2014/main" id="{D2B1FF7F-0442-459A-AE94-93534DBE8A0D}"/>
                </a:ext>
              </a:extLst>
            </p:cNvPr>
            <p:cNvSpPr txBox="1"/>
            <p:nvPr/>
          </p:nvSpPr>
          <p:spPr>
            <a:xfrm>
              <a:off x="596346" y="3229782"/>
              <a:ext cx="1148265" cy="2082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1" u="none" strike="noStrike" kern="0" cap="none" spc="0" normalizeH="0" baseline="0" noProof="0">
                  <a:ln>
                    <a:noFill/>
                  </a:ln>
                  <a:solidFill>
                    <a:srgbClr val="EEEEEE">
                      <a:lumMod val="50000"/>
                      <a:alpha val="72000"/>
                    </a:srgbClr>
                  </a:solidFill>
                  <a:effectLst/>
                  <a:uLnTx/>
                  <a:uFillTx/>
                  <a:latin typeface="Arial"/>
                  <a:cs typeface="Arial"/>
                  <a:sym typeface="Arial"/>
                </a:rPr>
                <a:t>= Progress Review</a:t>
              </a:r>
            </a:p>
          </p:txBody>
        </p:sp>
      </p:grpSp>
      <p:sp>
        <p:nvSpPr>
          <p:cNvPr id="111" name="Content Placeholder 2">
            <a:extLst>
              <a:ext uri="{FF2B5EF4-FFF2-40B4-BE49-F238E27FC236}">
                <a16:creationId xmlns:a16="http://schemas.microsoft.com/office/drawing/2014/main" id="{90095D97-9BBD-4165-BBE4-467D2C801180}"/>
              </a:ext>
            </a:extLst>
          </p:cNvPr>
          <p:cNvSpPr txBox="1">
            <a:spLocks/>
          </p:cNvSpPr>
          <p:nvPr/>
        </p:nvSpPr>
        <p:spPr>
          <a:xfrm>
            <a:off x="491273" y="3714419"/>
            <a:ext cx="1880880"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Inputs</a:t>
            </a:r>
            <a:endParaRPr kumimoji="0" lang="en-US" sz="11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112" name="Content Placeholder 2">
            <a:extLst>
              <a:ext uri="{FF2B5EF4-FFF2-40B4-BE49-F238E27FC236}">
                <a16:creationId xmlns:a16="http://schemas.microsoft.com/office/drawing/2014/main" id="{65938F25-EF5B-41D2-A824-C96C60DEB880}"/>
              </a:ext>
            </a:extLst>
          </p:cNvPr>
          <p:cNvSpPr txBox="1">
            <a:spLocks/>
          </p:cNvSpPr>
          <p:nvPr/>
        </p:nvSpPr>
        <p:spPr>
          <a:xfrm>
            <a:off x="3681212" y="3714419"/>
            <a:ext cx="1743867"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Outputs</a:t>
            </a:r>
            <a:endParaRPr kumimoji="0" lang="en-US" sz="14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113" name="Content Placeholder 2">
            <a:extLst>
              <a:ext uri="{FF2B5EF4-FFF2-40B4-BE49-F238E27FC236}">
                <a16:creationId xmlns:a16="http://schemas.microsoft.com/office/drawing/2014/main" id="{DCC67608-EC28-4F4F-BEA1-A7B12CC8DF9F}"/>
              </a:ext>
            </a:extLst>
          </p:cNvPr>
          <p:cNvSpPr txBox="1">
            <a:spLocks/>
          </p:cNvSpPr>
          <p:nvPr/>
        </p:nvSpPr>
        <p:spPr>
          <a:xfrm>
            <a:off x="483528" y="5153054"/>
            <a:ext cx="2254582"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Stakeholders</a:t>
            </a:r>
            <a:endParaRPr kumimoji="0" lang="en-US" sz="12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116" name="TextBox 115">
            <a:extLst>
              <a:ext uri="{FF2B5EF4-FFF2-40B4-BE49-F238E27FC236}">
                <a16:creationId xmlns:a16="http://schemas.microsoft.com/office/drawing/2014/main" id="{1B69A34F-66B0-4B83-A796-D1DBD5D791B8}"/>
              </a:ext>
            </a:extLst>
          </p:cNvPr>
          <p:cNvSpPr txBox="1"/>
          <p:nvPr/>
        </p:nvSpPr>
        <p:spPr>
          <a:xfrm>
            <a:off x="7266248" y="6470392"/>
            <a:ext cx="4724400" cy="261610"/>
          </a:xfrm>
          <a:prstGeom prst="rect">
            <a:avLst/>
          </a:prstGeom>
          <a:noFill/>
        </p:spPr>
        <p:txBody>
          <a:bodyPr wrap="square" rtlCol="0">
            <a:spAutoFit/>
          </a:bodyPr>
          <a:lstStyle/>
          <a:p>
            <a:pPr algn="ctr"/>
            <a:r>
              <a:rPr lang="en-US" sz="1100" i="1" dirty="0">
                <a:solidFill>
                  <a:schemeClr val="bg1"/>
                </a:solidFill>
              </a:rPr>
              <a:t>- Last published June 2022 -</a:t>
            </a:r>
          </a:p>
        </p:txBody>
      </p:sp>
      <p:sp>
        <p:nvSpPr>
          <p:cNvPr id="70" name="TextBox 69">
            <a:extLst>
              <a:ext uri="{FF2B5EF4-FFF2-40B4-BE49-F238E27FC236}">
                <a16:creationId xmlns:a16="http://schemas.microsoft.com/office/drawing/2014/main" id="{51A6D444-7F5F-4261-8FF3-B1F37F909772}"/>
              </a:ext>
            </a:extLst>
          </p:cNvPr>
          <p:cNvSpPr txBox="1"/>
          <p:nvPr/>
        </p:nvSpPr>
        <p:spPr>
          <a:xfrm>
            <a:off x="8250175" y="1259105"/>
            <a:ext cx="3674082"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Build, test, and deploy the new system, concept of operations, and workforce design</a:t>
            </a:r>
          </a:p>
        </p:txBody>
      </p:sp>
      <p:sp>
        <p:nvSpPr>
          <p:cNvPr id="73" name="TextBox 72">
            <a:extLst>
              <a:ext uri="{FF2B5EF4-FFF2-40B4-BE49-F238E27FC236}">
                <a16:creationId xmlns:a16="http://schemas.microsoft.com/office/drawing/2014/main" id="{7B146D2C-2946-4418-B7CE-F1BE588B6C46}"/>
              </a:ext>
            </a:extLst>
          </p:cNvPr>
          <p:cNvSpPr txBox="1"/>
          <p:nvPr/>
        </p:nvSpPr>
        <p:spPr>
          <a:xfrm>
            <a:off x="8247306" y="1751706"/>
            <a:ext cx="3679821"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Monitor, measure, and communicate program migration progress</a:t>
            </a:r>
          </a:p>
        </p:txBody>
      </p:sp>
      <p:sp>
        <p:nvSpPr>
          <p:cNvPr id="76" name="TextBox 75">
            <a:extLst>
              <a:ext uri="{FF2B5EF4-FFF2-40B4-BE49-F238E27FC236}">
                <a16:creationId xmlns:a16="http://schemas.microsoft.com/office/drawing/2014/main" id="{72089BF9-02AE-4C84-AA74-694D1EA99FC8}"/>
              </a:ext>
            </a:extLst>
          </p:cNvPr>
          <p:cNvSpPr txBox="1"/>
          <p:nvPr/>
        </p:nvSpPr>
        <p:spPr>
          <a:xfrm>
            <a:off x="8250174" y="2244307"/>
            <a:ext cx="3674084" cy="646331"/>
          </a:xfrm>
          <a:prstGeom prst="rect">
            <a:avLst/>
          </a:prstGeom>
          <a:noFill/>
        </p:spPr>
        <p:txBody>
          <a:bodyPr wrap="square" rtlCol="0">
            <a:spAutoFit/>
          </a:bodyPr>
          <a:lstStyle/>
          <a:p>
            <a:pPr lvl="0">
              <a:spcBef>
                <a:spcPts val="1000"/>
              </a:spcBef>
              <a:buClr>
                <a:srgbClr val="FFFFFF"/>
              </a:buClr>
              <a:defRPr/>
            </a:pPr>
            <a:r>
              <a:rPr lang="en-US" sz="1200" kern="1200" dirty="0">
                <a:solidFill>
                  <a:srgbClr val="FFFFFF"/>
                </a:solidFill>
              </a:rPr>
              <a:t>Develop Operations and Maintenance (O&amp;M) governance structure to manage and oversee system and process performance</a:t>
            </a:r>
          </a:p>
        </p:txBody>
      </p:sp>
      <p:sp>
        <p:nvSpPr>
          <p:cNvPr id="77" name="TextBox 76">
            <a:extLst>
              <a:ext uri="{FF2B5EF4-FFF2-40B4-BE49-F238E27FC236}">
                <a16:creationId xmlns:a16="http://schemas.microsoft.com/office/drawing/2014/main" id="{E5D16BA1-B396-4E84-93CF-D0A30AB0C3EE}"/>
              </a:ext>
            </a:extLst>
          </p:cNvPr>
          <p:cNvSpPr txBox="1"/>
          <p:nvPr/>
        </p:nvSpPr>
        <p:spPr>
          <a:xfrm>
            <a:off x="8250174" y="3598841"/>
            <a:ext cx="3674084"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Identify and design target state organization needs and prepare for changes to the workforce</a:t>
            </a:r>
          </a:p>
        </p:txBody>
      </p:sp>
      <p:sp>
        <p:nvSpPr>
          <p:cNvPr id="78" name="TextBox 77">
            <a:extLst>
              <a:ext uri="{FF2B5EF4-FFF2-40B4-BE49-F238E27FC236}">
                <a16:creationId xmlns:a16="http://schemas.microsoft.com/office/drawing/2014/main" id="{25C66543-5BBD-45EA-BC9A-4F00A2E28DE4}"/>
              </a:ext>
            </a:extLst>
          </p:cNvPr>
          <p:cNvSpPr txBox="1"/>
          <p:nvPr/>
        </p:nvSpPr>
        <p:spPr>
          <a:xfrm>
            <a:off x="8250175" y="4091442"/>
            <a:ext cx="3674083" cy="646331"/>
          </a:xfrm>
          <a:prstGeom prst="rect">
            <a:avLst/>
          </a:prstGeom>
          <a:noFill/>
        </p:spPr>
        <p:txBody>
          <a:bodyPr wrap="square" rtlCol="0">
            <a:spAutoFit/>
          </a:bodyPr>
          <a:lstStyle/>
          <a:p>
            <a:pPr lvl="0">
              <a:spcBef>
                <a:spcPts val="1000"/>
              </a:spcBef>
              <a:buClr>
                <a:srgbClr val="FFFFFF"/>
              </a:buClr>
              <a:defRPr/>
            </a:pPr>
            <a:r>
              <a:rPr lang="en-US" sz="1200" kern="1200" dirty="0">
                <a:solidFill>
                  <a:srgbClr val="FFFFFF"/>
                </a:solidFill>
              </a:rPr>
              <a:t>Configure enhancements of system software, hardware, and documentation throughout the lifecycle</a:t>
            </a:r>
          </a:p>
        </p:txBody>
      </p:sp>
      <p:sp>
        <p:nvSpPr>
          <p:cNvPr id="80" name="TextBox 79">
            <a:extLst>
              <a:ext uri="{FF2B5EF4-FFF2-40B4-BE49-F238E27FC236}">
                <a16:creationId xmlns:a16="http://schemas.microsoft.com/office/drawing/2014/main" id="{D9F3ECB2-6B4B-472A-8873-68EECE4B1B57}"/>
              </a:ext>
            </a:extLst>
          </p:cNvPr>
          <p:cNvSpPr txBox="1"/>
          <p:nvPr/>
        </p:nvSpPr>
        <p:spPr>
          <a:xfrm>
            <a:off x="8250175" y="5261308"/>
            <a:ext cx="3674082"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Monitor program performance and measure against Go-Live criteria to assess program’s readiness for Go-Live</a:t>
            </a:r>
          </a:p>
        </p:txBody>
      </p:sp>
      <p:sp>
        <p:nvSpPr>
          <p:cNvPr id="81" name="TextBox 80">
            <a:extLst>
              <a:ext uri="{FF2B5EF4-FFF2-40B4-BE49-F238E27FC236}">
                <a16:creationId xmlns:a16="http://schemas.microsoft.com/office/drawing/2014/main" id="{B78A6779-C961-4923-BC5B-CC71F81F3813}"/>
              </a:ext>
            </a:extLst>
          </p:cNvPr>
          <p:cNvSpPr txBox="1"/>
          <p:nvPr/>
        </p:nvSpPr>
        <p:spPr>
          <a:xfrm>
            <a:off x="8250174" y="2921574"/>
            <a:ext cx="3674084"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Design the target state process maps, activities, decision points, interrelationships, and systems interactions</a:t>
            </a:r>
          </a:p>
        </p:txBody>
      </p:sp>
      <p:grpSp>
        <p:nvGrpSpPr>
          <p:cNvPr id="16" name="Group 15">
            <a:extLst>
              <a:ext uri="{FF2B5EF4-FFF2-40B4-BE49-F238E27FC236}">
                <a16:creationId xmlns:a16="http://schemas.microsoft.com/office/drawing/2014/main" id="{98C0D272-1E24-475E-A24F-727E3C3F84A1}"/>
              </a:ext>
            </a:extLst>
          </p:cNvPr>
          <p:cNvGrpSpPr/>
          <p:nvPr/>
        </p:nvGrpSpPr>
        <p:grpSpPr>
          <a:xfrm>
            <a:off x="7442100" y="1310990"/>
            <a:ext cx="519837" cy="4452431"/>
            <a:chOff x="7442100" y="1310990"/>
            <a:chExt cx="519837" cy="4452431"/>
          </a:xfrm>
        </p:grpSpPr>
        <p:pic>
          <p:nvPicPr>
            <p:cNvPr id="68" name="Picture 67">
              <a:extLst>
                <a:ext uri="{FF2B5EF4-FFF2-40B4-BE49-F238E27FC236}">
                  <a16:creationId xmlns:a16="http://schemas.microsoft.com/office/drawing/2014/main" id="{C4AEFC7E-91C2-4EC6-9FF5-6819CD9C8B88}"/>
                </a:ext>
              </a:extLst>
            </p:cNvPr>
            <p:cNvPicPr>
              <a:picLocks noChangeAspect="1"/>
            </p:cNvPicPr>
            <p:nvPr/>
          </p:nvPicPr>
          <p:blipFill>
            <a:blip r:embed="rId6"/>
            <a:stretch>
              <a:fillRect/>
            </a:stretch>
          </p:blipFill>
          <p:spPr>
            <a:xfrm>
              <a:off x="7547925" y="1310990"/>
              <a:ext cx="308187" cy="357895"/>
            </a:xfrm>
            <a:prstGeom prst="rect">
              <a:avLst/>
            </a:prstGeom>
          </p:spPr>
        </p:pic>
        <p:pic>
          <p:nvPicPr>
            <p:cNvPr id="59" name="Picture 58">
              <a:extLst>
                <a:ext uri="{FF2B5EF4-FFF2-40B4-BE49-F238E27FC236}">
                  <a16:creationId xmlns:a16="http://schemas.microsoft.com/office/drawing/2014/main" id="{10DE60FE-138B-4F1D-BA29-FAE14F709ACC}"/>
                </a:ext>
              </a:extLst>
            </p:cNvPr>
            <p:cNvPicPr>
              <a:picLocks noChangeAspect="1"/>
            </p:cNvPicPr>
            <p:nvPr/>
          </p:nvPicPr>
          <p:blipFill>
            <a:blip r:embed="rId6"/>
            <a:stretch>
              <a:fillRect/>
            </a:stretch>
          </p:blipFill>
          <p:spPr>
            <a:xfrm>
              <a:off x="7547925" y="1803591"/>
              <a:ext cx="308187" cy="357895"/>
            </a:xfrm>
            <a:prstGeom prst="rect">
              <a:avLst/>
            </a:prstGeom>
          </p:spPr>
        </p:pic>
        <p:pic>
          <p:nvPicPr>
            <p:cNvPr id="58" name="Picture 57">
              <a:extLst>
                <a:ext uri="{FF2B5EF4-FFF2-40B4-BE49-F238E27FC236}">
                  <a16:creationId xmlns:a16="http://schemas.microsoft.com/office/drawing/2014/main" id="{0720B02B-7865-4B20-8A22-CA680BF4FDA6}"/>
                </a:ext>
              </a:extLst>
            </p:cNvPr>
            <p:cNvPicPr>
              <a:picLocks noChangeAspect="1"/>
            </p:cNvPicPr>
            <p:nvPr/>
          </p:nvPicPr>
          <p:blipFill>
            <a:blip r:embed="rId6"/>
            <a:stretch>
              <a:fillRect/>
            </a:stretch>
          </p:blipFill>
          <p:spPr>
            <a:xfrm>
              <a:off x="7547925" y="2388525"/>
              <a:ext cx="308187" cy="357895"/>
            </a:xfrm>
            <a:prstGeom prst="rect">
              <a:avLst/>
            </a:prstGeom>
          </p:spPr>
        </p:pic>
        <p:pic>
          <p:nvPicPr>
            <p:cNvPr id="56" name="Picture 55">
              <a:extLst>
                <a:ext uri="{FF2B5EF4-FFF2-40B4-BE49-F238E27FC236}">
                  <a16:creationId xmlns:a16="http://schemas.microsoft.com/office/drawing/2014/main" id="{8A3A13F4-47C5-43DD-8971-9AC773B86FDE}"/>
                </a:ext>
              </a:extLst>
            </p:cNvPr>
            <p:cNvPicPr>
              <a:picLocks noChangeAspect="1"/>
            </p:cNvPicPr>
            <p:nvPr/>
          </p:nvPicPr>
          <p:blipFill>
            <a:blip r:embed="rId7"/>
            <a:stretch>
              <a:fillRect/>
            </a:stretch>
          </p:blipFill>
          <p:spPr>
            <a:xfrm>
              <a:off x="7486249" y="3649029"/>
              <a:ext cx="431538" cy="361288"/>
            </a:xfrm>
            <a:prstGeom prst="rect">
              <a:avLst/>
            </a:prstGeom>
          </p:spPr>
        </p:pic>
        <p:pic>
          <p:nvPicPr>
            <p:cNvPr id="49" name="Picture 48">
              <a:extLst>
                <a:ext uri="{FF2B5EF4-FFF2-40B4-BE49-F238E27FC236}">
                  <a16:creationId xmlns:a16="http://schemas.microsoft.com/office/drawing/2014/main" id="{3C3C7118-F09A-42E6-90AC-5DBA0F4782A7}"/>
                </a:ext>
              </a:extLst>
            </p:cNvPr>
            <p:cNvPicPr>
              <a:picLocks noChangeAspect="1"/>
            </p:cNvPicPr>
            <p:nvPr/>
          </p:nvPicPr>
          <p:blipFill>
            <a:blip r:embed="rId8"/>
            <a:stretch>
              <a:fillRect/>
            </a:stretch>
          </p:blipFill>
          <p:spPr>
            <a:xfrm>
              <a:off x="7523833" y="4236422"/>
              <a:ext cx="356370" cy="356370"/>
            </a:xfrm>
            <a:prstGeom prst="rect">
              <a:avLst/>
            </a:prstGeom>
          </p:spPr>
        </p:pic>
        <p:pic>
          <p:nvPicPr>
            <p:cNvPr id="51" name="Picture 50">
              <a:extLst>
                <a:ext uri="{FF2B5EF4-FFF2-40B4-BE49-F238E27FC236}">
                  <a16:creationId xmlns:a16="http://schemas.microsoft.com/office/drawing/2014/main" id="{491A0A2B-CFB6-45C6-ADDB-FED50B80E512}"/>
                </a:ext>
              </a:extLst>
            </p:cNvPr>
            <p:cNvPicPr>
              <a:picLocks noChangeAspect="1"/>
            </p:cNvPicPr>
            <p:nvPr/>
          </p:nvPicPr>
          <p:blipFill>
            <a:blip r:embed="rId6"/>
            <a:stretch>
              <a:fillRect/>
            </a:stretch>
          </p:blipFill>
          <p:spPr>
            <a:xfrm>
              <a:off x="7547925" y="5405526"/>
              <a:ext cx="308187" cy="357895"/>
            </a:xfrm>
            <a:prstGeom prst="rect">
              <a:avLst/>
            </a:prstGeom>
          </p:spPr>
        </p:pic>
        <p:pic>
          <p:nvPicPr>
            <p:cNvPr id="48" name="Picture 47">
              <a:extLst>
                <a:ext uri="{FF2B5EF4-FFF2-40B4-BE49-F238E27FC236}">
                  <a16:creationId xmlns:a16="http://schemas.microsoft.com/office/drawing/2014/main" id="{975E36D3-3CE2-4A5C-BC19-553433F6F134}"/>
                </a:ext>
              </a:extLst>
            </p:cNvPr>
            <p:cNvPicPr>
              <a:picLocks noChangeAspect="1"/>
            </p:cNvPicPr>
            <p:nvPr/>
          </p:nvPicPr>
          <p:blipFill>
            <a:blip r:embed="rId9"/>
            <a:stretch>
              <a:fillRect/>
            </a:stretch>
          </p:blipFill>
          <p:spPr>
            <a:xfrm>
              <a:off x="7442100" y="3061267"/>
              <a:ext cx="519837" cy="366944"/>
            </a:xfrm>
            <a:prstGeom prst="rect">
              <a:avLst/>
            </a:prstGeom>
          </p:spPr>
        </p:pic>
        <p:pic>
          <p:nvPicPr>
            <p:cNvPr id="82" name="Picture 81">
              <a:extLst>
                <a:ext uri="{FF2B5EF4-FFF2-40B4-BE49-F238E27FC236}">
                  <a16:creationId xmlns:a16="http://schemas.microsoft.com/office/drawing/2014/main" id="{E4059940-8505-4339-8DBD-699520F136A3}"/>
                </a:ext>
              </a:extLst>
            </p:cNvPr>
            <p:cNvPicPr>
              <a:picLocks noChangeAspect="1"/>
            </p:cNvPicPr>
            <p:nvPr/>
          </p:nvPicPr>
          <p:blipFill>
            <a:blip r:embed="rId7"/>
            <a:stretch>
              <a:fillRect/>
            </a:stretch>
          </p:blipFill>
          <p:spPr>
            <a:xfrm>
              <a:off x="7486249" y="4818897"/>
              <a:ext cx="431538" cy="361288"/>
            </a:xfrm>
            <a:prstGeom prst="rect">
              <a:avLst/>
            </a:prstGeom>
          </p:spPr>
        </p:pic>
      </p:grpSp>
      <p:sp>
        <p:nvSpPr>
          <p:cNvPr id="83" name="TextBox 82">
            <a:extLst>
              <a:ext uri="{FF2B5EF4-FFF2-40B4-BE49-F238E27FC236}">
                <a16:creationId xmlns:a16="http://schemas.microsoft.com/office/drawing/2014/main" id="{1D7C1899-8F01-4927-A6F6-872077D78D40}"/>
              </a:ext>
            </a:extLst>
          </p:cNvPr>
          <p:cNvSpPr txBox="1"/>
          <p:nvPr/>
        </p:nvSpPr>
        <p:spPr>
          <a:xfrm>
            <a:off x="8250175" y="4768709"/>
            <a:ext cx="3674082"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Develop and deliver training to the organization to prepare for Go-Live</a:t>
            </a:r>
          </a:p>
        </p:txBody>
      </p:sp>
    </p:spTree>
    <p:extLst>
      <p:ext uri="{BB962C8B-B14F-4D97-AF65-F5344CB8AC3E}">
        <p14:creationId xmlns:p14="http://schemas.microsoft.com/office/powerpoint/2010/main" val="13129042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88A3E7-6558-47FD-91FA-D0EA9E266A34}"/>
              </a:ext>
            </a:extLst>
          </p:cNvPr>
          <p:cNvSpPr/>
          <p:nvPr/>
        </p:nvSpPr>
        <p:spPr>
          <a:xfrm>
            <a:off x="77034" y="544286"/>
            <a:ext cx="12066432" cy="6767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D579E0-6886-4322-B2B2-F22CC80F64B3}"/>
              </a:ext>
            </a:extLst>
          </p:cNvPr>
          <p:cNvSpPr/>
          <p:nvPr/>
        </p:nvSpPr>
        <p:spPr>
          <a:xfrm>
            <a:off x="528918" y="6222434"/>
            <a:ext cx="1228164" cy="51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nvGrpSpPr>
          <p:cNvPr id="19" name="Group 18">
            <a:extLst>
              <a:ext uri="{FF2B5EF4-FFF2-40B4-BE49-F238E27FC236}">
                <a16:creationId xmlns:a16="http://schemas.microsoft.com/office/drawing/2014/main" id="{A146E0D1-78D8-4DC4-8BB3-7CB2D7340D78}"/>
              </a:ext>
            </a:extLst>
          </p:cNvPr>
          <p:cNvGrpSpPr/>
          <p:nvPr/>
        </p:nvGrpSpPr>
        <p:grpSpPr>
          <a:xfrm>
            <a:off x="7007585" y="0"/>
            <a:ext cx="5184416" cy="6858000"/>
            <a:chOff x="1426029" y="1850572"/>
            <a:chExt cx="6193971" cy="4093030"/>
          </a:xfrm>
        </p:grpSpPr>
        <p:sp>
          <p:nvSpPr>
            <p:cNvPr id="20" name="Freeform: Shape 19">
              <a:extLst>
                <a:ext uri="{FF2B5EF4-FFF2-40B4-BE49-F238E27FC236}">
                  <a16:creationId xmlns:a16="http://schemas.microsoft.com/office/drawing/2014/main" id="{3E765E4C-69A4-441B-A03C-FBA2C4EA48C5}"/>
                </a:ext>
              </a:extLst>
            </p:cNvPr>
            <p:cNvSpPr/>
            <p:nvPr/>
          </p:nvSpPr>
          <p:spPr>
            <a:xfrm rot="5400000" flipH="1">
              <a:off x="2476500" y="800102"/>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21" name="Picture 20">
              <a:extLst>
                <a:ext uri="{FF2B5EF4-FFF2-40B4-BE49-F238E27FC236}">
                  <a16:creationId xmlns:a16="http://schemas.microsoft.com/office/drawing/2014/main" id="{1E6FBCF5-9558-4104-B8C5-451F6F7633AE}"/>
                </a:ext>
              </a:extLst>
            </p:cNvPr>
            <p:cNvPicPr>
              <a:picLocks noChangeAspect="1"/>
            </p:cNvPicPr>
            <p:nvPr/>
          </p:nvPicPr>
          <p:blipFill>
            <a:blip r:embed="rId3"/>
            <a:srcRect l="41956" t="30520" r="18072" b="13003"/>
            <a:stretch>
              <a:fillRect/>
            </a:stretch>
          </p:blipFill>
          <p:spPr>
            <a:xfrm rot="5400000" flipH="1">
              <a:off x="2476500" y="800101"/>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p:spPr>
        </p:pic>
      </p:grpSp>
      <p:sp>
        <p:nvSpPr>
          <p:cNvPr id="6" name="Slide Number Placeholder 5">
            <a:extLst>
              <a:ext uri="{FF2B5EF4-FFF2-40B4-BE49-F238E27FC236}">
                <a16:creationId xmlns:a16="http://schemas.microsoft.com/office/drawing/2014/main" id="{AC83790E-8BFC-469D-96E8-F9C16FC64CDA}"/>
              </a:ext>
            </a:extLst>
          </p:cNvPr>
          <p:cNvSpPr>
            <a:spLocks noGrp="1"/>
          </p:cNvSpPr>
          <p:nvPr>
            <p:ph type="sldNum" idx="10"/>
          </p:nvPr>
        </p:nvSpPr>
        <p:spPr>
          <a:xfrm>
            <a:off x="11037018" y="6011305"/>
            <a:ext cx="731600" cy="524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chemeClr val="bg1"/>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lang="en" sz="1200" b="1"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5" name="Text Placeholder 7">
            <a:extLst>
              <a:ext uri="{FF2B5EF4-FFF2-40B4-BE49-F238E27FC236}">
                <a16:creationId xmlns:a16="http://schemas.microsoft.com/office/drawing/2014/main" id="{9940FBCF-C3B4-4851-BDF2-E431FC8F4B4D}"/>
              </a:ext>
            </a:extLst>
          </p:cNvPr>
          <p:cNvSpPr txBox="1">
            <a:spLocks/>
          </p:cNvSpPr>
          <p:nvPr/>
        </p:nvSpPr>
        <p:spPr>
          <a:xfrm>
            <a:off x="374904" y="6401056"/>
            <a:ext cx="5348047" cy="1951154"/>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050" b="0" i="0" u="none" strike="noStrike" kern="0" cap="none" spc="0" normalizeH="0" baseline="0" noProof="0" dirty="0">
                <a:ln>
                  <a:noFill/>
                </a:ln>
                <a:solidFill>
                  <a:srgbClr val="005087"/>
                </a:solidFill>
                <a:effectLst/>
                <a:uLnTx/>
                <a:uFillTx/>
                <a:latin typeface="Arial"/>
                <a:cs typeface="Arial"/>
                <a:sym typeface="Arial"/>
              </a:rPr>
              <a:t>* Learn more about the Operations phase activities and templates by clicking </a:t>
            </a:r>
            <a:r>
              <a:rPr kumimoji="0" lang="en-US" sz="1050" b="0" i="0" u="none" strike="noStrike" kern="0" cap="none" spc="0" normalizeH="0" baseline="0" noProof="0" dirty="0">
                <a:ln>
                  <a:noFill/>
                </a:ln>
                <a:solidFill>
                  <a:srgbClr val="005087"/>
                </a:solidFill>
                <a:effectLst/>
                <a:uLnTx/>
                <a:uFillTx/>
                <a:latin typeface="Arial"/>
                <a:cs typeface="Arial"/>
                <a:sym typeface="Arial"/>
                <a:hlinkClick r:id="rId4">
                  <a:extLst>
                    <a:ext uri="{A12FA001-AC4F-418D-AE19-62706E023703}">
                      <ahyp:hlinkClr xmlns:ahyp="http://schemas.microsoft.com/office/drawing/2018/hyperlinkcolor" val="tx"/>
                    </a:ext>
                  </a:extLst>
                </a:hlinkClick>
              </a:rPr>
              <a:t>here</a:t>
            </a:r>
            <a:endParaRPr kumimoji="0" lang="en-US" sz="1050" b="0" i="0" u="none" strike="noStrike" kern="0" cap="none" spc="0" normalizeH="0" baseline="0" noProof="0" dirty="0">
              <a:ln>
                <a:noFill/>
              </a:ln>
              <a:solidFill>
                <a:srgbClr val="005087"/>
              </a:solidFill>
              <a:effectLst/>
              <a:uLnTx/>
              <a:uFillTx/>
              <a:latin typeface="Arial"/>
              <a:cs typeface="Arial"/>
              <a:sym typeface="Arial"/>
            </a:endParaRPr>
          </a:p>
        </p:txBody>
      </p:sp>
      <p:cxnSp>
        <p:nvCxnSpPr>
          <p:cNvPr id="22" name="Straight Connector 21">
            <a:extLst>
              <a:ext uri="{FF2B5EF4-FFF2-40B4-BE49-F238E27FC236}">
                <a16:creationId xmlns:a16="http://schemas.microsoft.com/office/drawing/2014/main" id="{56417584-F4CD-489B-90C1-6EEAFC9708F8}"/>
              </a:ext>
            </a:extLst>
          </p:cNvPr>
          <p:cNvCxnSpPr>
            <a:cxnSpLocks/>
          </p:cNvCxnSpPr>
          <p:nvPr/>
        </p:nvCxnSpPr>
        <p:spPr>
          <a:xfrm>
            <a:off x="-4392" y="936183"/>
            <a:ext cx="5895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Text Placeholder 7">
            <a:extLst>
              <a:ext uri="{FF2B5EF4-FFF2-40B4-BE49-F238E27FC236}">
                <a16:creationId xmlns:a16="http://schemas.microsoft.com/office/drawing/2014/main" id="{C2ED52EA-7EA1-4BE9-AFED-54B7E54F8247}"/>
              </a:ext>
            </a:extLst>
          </p:cNvPr>
          <p:cNvSpPr txBox="1">
            <a:spLocks/>
          </p:cNvSpPr>
          <p:nvPr/>
        </p:nvSpPr>
        <p:spPr>
          <a:xfrm>
            <a:off x="7436338" y="678567"/>
            <a:ext cx="4384221" cy="1556143"/>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800" b="1" i="0" u="none" strike="noStrike" kern="0" cap="none" spc="0" normalizeH="0" baseline="0" noProof="0" dirty="0">
                <a:ln>
                  <a:noFill/>
                </a:ln>
                <a:solidFill>
                  <a:srgbClr val="FFFFFF"/>
                </a:solidFill>
                <a:effectLst/>
                <a:uLnTx/>
                <a:uFillTx/>
                <a:latin typeface="Arial"/>
                <a:cs typeface="Arial"/>
                <a:sym typeface="Arial"/>
              </a:rPr>
              <a:t>Key Activities*</a:t>
            </a:r>
          </a:p>
        </p:txBody>
      </p:sp>
      <p:sp>
        <p:nvSpPr>
          <p:cNvPr id="52" name="Footer Placeholder 2">
            <a:extLst>
              <a:ext uri="{FF2B5EF4-FFF2-40B4-BE49-F238E27FC236}">
                <a16:creationId xmlns:a16="http://schemas.microsoft.com/office/drawing/2014/main" id="{734000D9-68DA-421B-A470-3A1AA592AD7D}"/>
              </a:ext>
            </a:extLst>
          </p:cNvPr>
          <p:cNvSpPr>
            <a:spLocks noGrp="1"/>
          </p:cNvSpPr>
          <p:nvPr>
            <p:ph type="ftr" sz="quarter" idx="11"/>
          </p:nvPr>
        </p:nvSpPr>
        <p:spPr>
          <a:xfrm>
            <a:off x="8077200" y="76362"/>
            <a:ext cx="3499448" cy="254259"/>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chemeClr val="bg1"/>
                </a:solidFill>
                <a:effectLst/>
                <a:uLnTx/>
                <a:uFillTx/>
                <a:latin typeface="Arial"/>
                <a:ea typeface="+mn-ea"/>
                <a:cs typeface="Arial"/>
                <a:sym typeface="Arial"/>
              </a:rPr>
              <a:t>M3 Playbook Orientation</a:t>
            </a:r>
          </a:p>
        </p:txBody>
      </p:sp>
      <p:cxnSp>
        <p:nvCxnSpPr>
          <p:cNvPr id="45" name="Straight Connector 44">
            <a:extLst>
              <a:ext uri="{FF2B5EF4-FFF2-40B4-BE49-F238E27FC236}">
                <a16:creationId xmlns:a16="http://schemas.microsoft.com/office/drawing/2014/main" id="{45B0AC14-F726-4D9D-ACD7-497E8C54C8CB}"/>
              </a:ext>
            </a:extLst>
          </p:cNvPr>
          <p:cNvCxnSpPr>
            <a:cxnSpLocks/>
          </p:cNvCxnSpPr>
          <p:nvPr/>
        </p:nvCxnSpPr>
        <p:spPr>
          <a:xfrm flipV="1">
            <a:off x="-4392" y="920967"/>
            <a:ext cx="6206888" cy="15216"/>
          </a:xfrm>
          <a:prstGeom prst="line">
            <a:avLst/>
          </a:prstGeom>
          <a:ln>
            <a:solidFill>
              <a:srgbClr val="92D050"/>
            </a:solidFill>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2F2FE07A-06C4-4F41-8DB9-8DC750D52F8F}"/>
              </a:ext>
            </a:extLst>
          </p:cNvPr>
          <p:cNvGrpSpPr/>
          <p:nvPr/>
        </p:nvGrpSpPr>
        <p:grpSpPr>
          <a:xfrm>
            <a:off x="483489" y="3942609"/>
            <a:ext cx="5938769" cy="2551226"/>
            <a:chOff x="5426229" y="3780826"/>
            <a:chExt cx="5938769" cy="2551226"/>
          </a:xfrm>
        </p:grpSpPr>
        <p:sp>
          <p:nvSpPr>
            <p:cNvPr id="55" name="Content Placeholder 2">
              <a:extLst>
                <a:ext uri="{FF2B5EF4-FFF2-40B4-BE49-F238E27FC236}">
                  <a16:creationId xmlns:a16="http://schemas.microsoft.com/office/drawing/2014/main" id="{2A69E128-FA95-483E-9E7A-65B2AB41F9D6}"/>
                </a:ext>
              </a:extLst>
            </p:cNvPr>
            <p:cNvSpPr txBox="1">
              <a:spLocks/>
            </p:cNvSpPr>
            <p:nvPr/>
          </p:nvSpPr>
          <p:spPr>
            <a:xfrm>
              <a:off x="5427826" y="3922329"/>
              <a:ext cx="2341312" cy="1119281"/>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Requirements Traceability Matrix (RTM)</a:t>
              </a:r>
            </a:p>
            <a:p>
              <a:pPr marL="109728" lvl="0" indent="-109728">
                <a:spcBef>
                  <a:spcPts val="400"/>
                </a:spcBef>
                <a:buClr>
                  <a:srgbClr val="160083"/>
                </a:buClr>
                <a:buSzPct val="100000"/>
              </a:pPr>
              <a:r>
                <a:rPr lang="en-US" sz="1100">
                  <a:solidFill>
                    <a:srgbClr val="000000"/>
                  </a:solidFill>
                  <a:ea typeface="Arial"/>
                  <a:cs typeface="Arial"/>
                </a:rPr>
                <a:t>Target State Systems Environment</a:t>
              </a:r>
            </a:p>
            <a:p>
              <a:pPr marL="109728" lvl="0" indent="-109728">
                <a:spcBef>
                  <a:spcPts val="400"/>
                </a:spcBef>
                <a:buClr>
                  <a:srgbClr val="160083"/>
                </a:buClr>
                <a:buSzPct val="100000"/>
              </a:pPr>
              <a:r>
                <a:rPr lang="en-US" sz="1100">
                  <a:solidFill>
                    <a:srgbClr val="000000"/>
                  </a:solidFill>
                  <a:ea typeface="Arial"/>
                  <a:cs typeface="Arial"/>
                </a:rPr>
                <a:t>Cutover Plan</a:t>
              </a:r>
            </a:p>
            <a:p>
              <a:pPr marL="109728" lvl="0" indent="-109728">
                <a:spcBef>
                  <a:spcPts val="400"/>
                </a:spcBef>
                <a:buClr>
                  <a:srgbClr val="160083"/>
                </a:buClr>
                <a:buSzPct val="100000"/>
              </a:pPr>
              <a:r>
                <a:rPr lang="en-US" sz="1100">
                  <a:solidFill>
                    <a:srgbClr val="000000"/>
                  </a:solidFill>
                  <a:ea typeface="Arial"/>
                  <a:cs typeface="Arial"/>
                </a:rPr>
                <a:t>Service Level Agreements (SLAs)</a:t>
              </a:r>
            </a:p>
            <a:p>
              <a:pPr marL="109728" lvl="0" indent="-109728">
                <a:spcBef>
                  <a:spcPts val="400"/>
                </a:spcBef>
                <a:buClr>
                  <a:srgbClr val="160083"/>
                </a:buClr>
                <a:buSzPct val="100000"/>
              </a:pPr>
              <a:endParaRPr kumimoji="0" lang="en-US" sz="1100" b="0" i="0" u="sng" strike="noStrike" kern="1200" cap="none" spc="0" normalizeH="0" baseline="0" noProof="0">
                <a:ln>
                  <a:noFill/>
                </a:ln>
                <a:solidFill>
                  <a:srgbClr val="0070C0"/>
                </a:solidFill>
                <a:effectLst/>
                <a:uLnTx/>
                <a:uFillTx/>
                <a:latin typeface="Arial" panose="020B0604020202020204"/>
                <a:ea typeface="Arial"/>
                <a:cs typeface="Arial"/>
                <a:sym typeface="Arial"/>
              </a:endParaRPr>
            </a:p>
          </p:txBody>
        </p:sp>
        <p:sp>
          <p:nvSpPr>
            <p:cNvPr id="57" name="Content Placeholder 2">
              <a:extLst>
                <a:ext uri="{FF2B5EF4-FFF2-40B4-BE49-F238E27FC236}">
                  <a16:creationId xmlns:a16="http://schemas.microsoft.com/office/drawing/2014/main" id="{B082D674-97EB-4783-B5A1-D74E28432231}"/>
                </a:ext>
              </a:extLst>
            </p:cNvPr>
            <p:cNvSpPr txBox="1">
              <a:spLocks/>
            </p:cNvSpPr>
            <p:nvPr/>
          </p:nvSpPr>
          <p:spPr>
            <a:xfrm>
              <a:off x="8623954" y="3922329"/>
              <a:ext cx="2741044" cy="711990"/>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Lessons Learned Report</a:t>
              </a:r>
            </a:p>
            <a:p>
              <a:pPr marL="109728" indent="-109728">
                <a:spcBef>
                  <a:spcPts val="400"/>
                </a:spcBef>
                <a:buClr>
                  <a:srgbClr val="160083"/>
                </a:buClr>
                <a:buSzPct val="100000"/>
              </a:pPr>
              <a:r>
                <a:rPr lang="en-US" sz="1100">
                  <a:solidFill>
                    <a:srgbClr val="000000"/>
                  </a:solidFill>
                  <a:ea typeface="Arial"/>
                  <a:cs typeface="Arial"/>
                </a:rPr>
                <a:t>Post Implementation and Evaluation Report</a:t>
              </a:r>
            </a:p>
            <a:p>
              <a:pPr marL="109728" lvl="0" indent="-109728">
                <a:spcBef>
                  <a:spcPts val="400"/>
                </a:spcBef>
                <a:buClr>
                  <a:srgbClr val="160083"/>
                </a:buClr>
                <a:buSzPct val="100000"/>
              </a:pPr>
              <a:r>
                <a:rPr lang="en-US" sz="1100">
                  <a:solidFill>
                    <a:srgbClr val="000000"/>
                  </a:solidFill>
                  <a:ea typeface="Arial"/>
                  <a:cs typeface="Arial"/>
                </a:rPr>
                <a:t>Decommission Report</a:t>
              </a:r>
            </a:p>
          </p:txBody>
        </p:sp>
        <p:sp>
          <p:nvSpPr>
            <p:cNvPr id="60" name="Content Placeholder 2">
              <a:extLst>
                <a:ext uri="{FF2B5EF4-FFF2-40B4-BE49-F238E27FC236}">
                  <a16:creationId xmlns:a16="http://schemas.microsoft.com/office/drawing/2014/main" id="{98739D45-CAE7-41F8-B4CC-9CAA32BF915F}"/>
                </a:ext>
              </a:extLst>
            </p:cNvPr>
            <p:cNvSpPr txBox="1">
              <a:spLocks/>
            </p:cNvSpPr>
            <p:nvPr/>
          </p:nvSpPr>
          <p:spPr>
            <a:xfrm>
              <a:off x="5426231" y="5365121"/>
              <a:ext cx="2192264" cy="966931"/>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Executive Sponsor</a:t>
              </a:r>
            </a:p>
            <a:p>
              <a:pPr marL="109728" lvl="0" indent="-109728">
                <a:spcBef>
                  <a:spcPts val="400"/>
                </a:spcBef>
                <a:buClr>
                  <a:srgbClr val="160083"/>
                </a:buClr>
                <a:buSzPct val="100000"/>
              </a:pPr>
              <a:r>
                <a:rPr lang="en-US" sz="1100">
                  <a:solidFill>
                    <a:srgbClr val="000000"/>
                  </a:solidFill>
                  <a:ea typeface="Arial"/>
                  <a:cs typeface="Arial"/>
                </a:rPr>
                <a:t>Business Owner</a:t>
              </a:r>
            </a:p>
            <a:p>
              <a:pPr marL="109728" lvl="0" indent="-109728">
                <a:spcBef>
                  <a:spcPts val="400"/>
                </a:spcBef>
                <a:buClr>
                  <a:srgbClr val="160083"/>
                </a:buClr>
                <a:buSzPct val="100000"/>
              </a:pPr>
              <a:r>
                <a:rPr lang="en-US" sz="1100">
                  <a:solidFill>
                    <a:srgbClr val="000000"/>
                  </a:solidFill>
                  <a:ea typeface="Arial"/>
                  <a:cs typeface="Arial"/>
                </a:rPr>
                <a:t>Program Manager</a:t>
              </a:r>
            </a:p>
            <a:p>
              <a:pPr marL="109728" indent="-109728">
                <a:spcBef>
                  <a:spcPts val="400"/>
                </a:spcBef>
                <a:buClr>
                  <a:srgbClr val="160083"/>
                </a:buClr>
                <a:buSzPct val="100000"/>
              </a:pPr>
              <a:r>
                <a:rPr lang="en-US" sz="1100">
                  <a:solidFill>
                    <a:srgbClr val="000000"/>
                  </a:solidFill>
                  <a:ea typeface="Arial"/>
                  <a:cs typeface="Arial"/>
                </a:rPr>
                <a:t>PMO Lead</a:t>
              </a:r>
            </a:p>
            <a:p>
              <a:pPr marL="109728" lvl="0" indent="-109728">
                <a:spcBef>
                  <a:spcPts val="400"/>
                </a:spcBef>
                <a:buClr>
                  <a:srgbClr val="160083"/>
                </a:buClr>
                <a:buSzPct val="100000"/>
              </a:pP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61" name="Content Placeholder 2">
              <a:extLst>
                <a:ext uri="{FF2B5EF4-FFF2-40B4-BE49-F238E27FC236}">
                  <a16:creationId xmlns:a16="http://schemas.microsoft.com/office/drawing/2014/main" id="{38A8AC54-9F07-4195-809B-4B3EA7B0BCAA}"/>
                </a:ext>
              </a:extLst>
            </p:cNvPr>
            <p:cNvSpPr txBox="1">
              <a:spLocks/>
            </p:cNvSpPr>
            <p:nvPr/>
          </p:nvSpPr>
          <p:spPr>
            <a:xfrm>
              <a:off x="8570028" y="5365121"/>
              <a:ext cx="1739227" cy="763286"/>
            </a:xfrm>
            <a:prstGeom prst="rect">
              <a:avLst/>
            </a:prstGeom>
          </p:spPr>
          <p:txBody>
            <a:bodyPr vert="horz" wrap="square" lIns="0" tIns="0" rIns="0" bIns="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9728" lvl="0" indent="-109728">
                <a:spcBef>
                  <a:spcPts val="400"/>
                </a:spcBef>
                <a:buClr>
                  <a:srgbClr val="160083"/>
                </a:buClr>
                <a:buSzPct val="100000"/>
              </a:pPr>
              <a:r>
                <a:rPr lang="en-US" sz="1100">
                  <a:solidFill>
                    <a:srgbClr val="000000"/>
                  </a:solidFill>
                  <a:ea typeface="Arial"/>
                  <a:cs typeface="Arial"/>
                </a:rPr>
                <a:t>PMO Team</a:t>
              </a:r>
            </a:p>
            <a:p>
              <a:pPr marL="109728" lvl="0" indent="-109728">
                <a:spcBef>
                  <a:spcPts val="400"/>
                </a:spcBef>
                <a:buClr>
                  <a:srgbClr val="160083"/>
                </a:buClr>
                <a:buSzPct val="100000"/>
              </a:pPr>
              <a:r>
                <a:rPr lang="en-US" sz="1100">
                  <a:solidFill>
                    <a:srgbClr val="000000"/>
                  </a:solidFill>
                  <a:ea typeface="Arial"/>
                  <a:cs typeface="Arial"/>
                </a:rPr>
                <a:t>O&amp;M Team</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rPr>
                <a:t>QSMO</a:t>
              </a:r>
            </a:p>
            <a:p>
              <a:pPr marL="109728" marR="0" lvl="0" indent="-109728" algn="l" defTabSz="914400" rtl="0" eaLnBrk="1" fontAlgn="auto" latinLnBrk="0" hangingPunct="1">
                <a:lnSpc>
                  <a:spcPct val="90000"/>
                </a:lnSpc>
                <a:spcBef>
                  <a:spcPts val="400"/>
                </a:spcBef>
                <a:spcAft>
                  <a:spcPts val="0"/>
                </a:spcAft>
                <a:buClr>
                  <a:srgbClr val="160083"/>
                </a:buClr>
                <a:buSzPct val="100000"/>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69" name="Rectangle 68">
              <a:extLst>
                <a:ext uri="{FF2B5EF4-FFF2-40B4-BE49-F238E27FC236}">
                  <a16:creationId xmlns:a16="http://schemas.microsoft.com/office/drawing/2014/main" id="{10635758-E859-4A64-BD72-71D397161DF9}"/>
                </a:ext>
              </a:extLst>
            </p:cNvPr>
            <p:cNvSpPr/>
            <p:nvPr/>
          </p:nvSpPr>
          <p:spPr>
            <a:xfrm>
              <a:off x="8623953"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7723294C-428E-4424-9576-5D3F07AB11BC}"/>
                </a:ext>
              </a:extLst>
            </p:cNvPr>
            <p:cNvSpPr/>
            <p:nvPr/>
          </p:nvSpPr>
          <p:spPr>
            <a:xfrm>
              <a:off x="5427826" y="3780826"/>
              <a:ext cx="1631378"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7D0C3C43-DE3D-4A31-9B53-FB9D5001744D}"/>
                </a:ext>
              </a:extLst>
            </p:cNvPr>
            <p:cNvSpPr/>
            <p:nvPr/>
          </p:nvSpPr>
          <p:spPr>
            <a:xfrm flipV="1">
              <a:off x="5426229" y="5208536"/>
              <a:ext cx="5669280" cy="45719"/>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 name="Title 4">
            <a:extLst>
              <a:ext uri="{FF2B5EF4-FFF2-40B4-BE49-F238E27FC236}">
                <a16:creationId xmlns:a16="http://schemas.microsoft.com/office/drawing/2014/main" id="{F1C974B4-7A26-4ECA-BA8F-BD644EE9ED1E}"/>
              </a:ext>
            </a:extLst>
          </p:cNvPr>
          <p:cNvSpPr>
            <a:spLocks noGrp="1"/>
          </p:cNvSpPr>
          <p:nvPr>
            <p:ph type="title"/>
          </p:nvPr>
        </p:nvSpPr>
        <p:spPr>
          <a:xfrm>
            <a:off x="638356" y="321995"/>
            <a:ext cx="8309702" cy="855691"/>
          </a:xfrm>
        </p:spPr>
        <p:txBody>
          <a:bodyPr/>
          <a:lstStyle/>
          <a:p>
            <a:r>
              <a:rPr lang="en-US" dirty="0">
                <a:solidFill>
                  <a:schemeClr val="tx1"/>
                </a:solidFill>
              </a:rPr>
              <a:t>Phase 5: Operations</a:t>
            </a:r>
          </a:p>
        </p:txBody>
      </p:sp>
      <p:grpSp>
        <p:nvGrpSpPr>
          <p:cNvPr id="4" name="Group 3">
            <a:extLst>
              <a:ext uri="{FF2B5EF4-FFF2-40B4-BE49-F238E27FC236}">
                <a16:creationId xmlns:a16="http://schemas.microsoft.com/office/drawing/2014/main" id="{F7FB4B17-4C00-4382-9401-C93C65BA833E}"/>
              </a:ext>
            </a:extLst>
          </p:cNvPr>
          <p:cNvGrpSpPr/>
          <p:nvPr/>
        </p:nvGrpSpPr>
        <p:grpSpPr>
          <a:xfrm>
            <a:off x="374904" y="1197864"/>
            <a:ext cx="6126480" cy="2258568"/>
            <a:chOff x="200385" y="1129992"/>
            <a:chExt cx="6592824" cy="2404872"/>
          </a:xfrm>
        </p:grpSpPr>
        <p:grpSp>
          <p:nvGrpSpPr>
            <p:cNvPr id="47" name="Group 46">
              <a:extLst>
                <a:ext uri="{FF2B5EF4-FFF2-40B4-BE49-F238E27FC236}">
                  <a16:creationId xmlns:a16="http://schemas.microsoft.com/office/drawing/2014/main" id="{D1080986-C030-4FAC-B0D7-95CC57EFD20B}"/>
                </a:ext>
              </a:extLst>
            </p:cNvPr>
            <p:cNvGrpSpPr/>
            <p:nvPr/>
          </p:nvGrpSpPr>
          <p:grpSpPr>
            <a:xfrm>
              <a:off x="200385" y="1129992"/>
              <a:ext cx="6592824" cy="2404872"/>
              <a:chOff x="2040080" y="1525430"/>
              <a:chExt cx="8111840" cy="2976713"/>
            </a:xfrm>
          </p:grpSpPr>
          <p:grpSp>
            <p:nvGrpSpPr>
              <p:cNvPr id="48" name="Group 47">
                <a:extLst>
                  <a:ext uri="{FF2B5EF4-FFF2-40B4-BE49-F238E27FC236}">
                    <a16:creationId xmlns:a16="http://schemas.microsoft.com/office/drawing/2014/main" id="{33594855-E21F-4596-AB53-20544A20B41B}"/>
                  </a:ext>
                </a:extLst>
              </p:cNvPr>
              <p:cNvGrpSpPr/>
              <p:nvPr/>
            </p:nvGrpSpPr>
            <p:grpSpPr>
              <a:xfrm>
                <a:off x="2040080" y="1525430"/>
                <a:ext cx="8111840" cy="2976713"/>
                <a:chOff x="2040080" y="1525430"/>
                <a:chExt cx="8111840" cy="2976713"/>
              </a:xfrm>
            </p:grpSpPr>
            <p:pic>
              <p:nvPicPr>
                <p:cNvPr id="70" name="Picture 69">
                  <a:extLst>
                    <a:ext uri="{FF2B5EF4-FFF2-40B4-BE49-F238E27FC236}">
                      <a16:creationId xmlns:a16="http://schemas.microsoft.com/office/drawing/2014/main" id="{C713CDBC-5ED3-4612-BD52-D8ACDCBF0D6C}"/>
                    </a:ext>
                  </a:extLst>
                </p:cNvPr>
                <p:cNvPicPr>
                  <a:picLocks noChangeAspect="1"/>
                </p:cNvPicPr>
                <p:nvPr/>
              </p:nvPicPr>
              <p:blipFill>
                <a:blip r:embed="rId5"/>
                <a:stretch>
                  <a:fillRect/>
                </a:stretch>
              </p:blipFill>
              <p:spPr>
                <a:xfrm>
                  <a:off x="2040080" y="1525430"/>
                  <a:ext cx="8111840" cy="2958163"/>
                </a:xfrm>
                <a:prstGeom prst="rect">
                  <a:avLst/>
                </a:prstGeom>
                <a:solidFill>
                  <a:schemeClr val="bg1">
                    <a:lumMod val="95000"/>
                    <a:alpha val="51000"/>
                  </a:schemeClr>
                </a:solidFill>
                <a:ln>
                  <a:noFill/>
                </a:ln>
              </p:spPr>
            </p:pic>
            <p:sp>
              <p:nvSpPr>
                <p:cNvPr id="73" name="Freeform: Shape 72">
                  <a:hlinkClick r:id="rId4"/>
                  <a:extLst>
                    <a:ext uri="{FF2B5EF4-FFF2-40B4-BE49-F238E27FC236}">
                      <a16:creationId xmlns:a16="http://schemas.microsoft.com/office/drawing/2014/main" id="{5EA50764-D3D3-4F4A-9E18-1161F680EC92}"/>
                    </a:ext>
                  </a:extLst>
                </p:cNvPr>
                <p:cNvSpPr/>
                <p:nvPr/>
              </p:nvSpPr>
              <p:spPr>
                <a:xfrm flipH="1">
                  <a:off x="2115757" y="1664140"/>
                  <a:ext cx="7927954" cy="2777556"/>
                </a:xfrm>
                <a:custGeom>
                  <a:avLst/>
                  <a:gdLst>
                    <a:gd name="connsiteX0" fmla="*/ 7450235 w 7927954"/>
                    <a:gd name="connsiteY0" fmla="*/ 2548556 h 2777556"/>
                    <a:gd name="connsiteX1" fmla="*/ 7340972 w 7927954"/>
                    <a:gd name="connsiteY1" fmla="*/ 2653612 h 2777556"/>
                    <a:gd name="connsiteX2" fmla="*/ 7450235 w 7927954"/>
                    <a:gd name="connsiteY2" fmla="*/ 2764126 h 2777556"/>
                    <a:gd name="connsiteX3" fmla="*/ 114966 w 7927954"/>
                    <a:gd name="connsiteY3" fmla="*/ 1983048 h 2777556"/>
                    <a:gd name="connsiteX4" fmla="*/ 34809 w 7927954"/>
                    <a:gd name="connsiteY4" fmla="*/ 1992596 h 2777556"/>
                    <a:gd name="connsiteX5" fmla="*/ 6176 w 7927954"/>
                    <a:gd name="connsiteY5" fmla="*/ 2042856 h 2777556"/>
                    <a:gd name="connsiteX6" fmla="*/ 799 w 7927954"/>
                    <a:gd name="connsiteY6" fmla="*/ 2412830 h 2777556"/>
                    <a:gd name="connsiteX7" fmla="*/ 42566 w 7927954"/>
                    <a:gd name="connsiteY7" fmla="*/ 2467650 h 2777556"/>
                    <a:gd name="connsiteX8" fmla="*/ 114966 w 7927954"/>
                    <a:gd name="connsiteY8" fmla="*/ 2484360 h 2777556"/>
                    <a:gd name="connsiteX9" fmla="*/ 114966 w 7927954"/>
                    <a:gd name="connsiteY9" fmla="*/ 1983048 h 2777556"/>
                    <a:gd name="connsiteX10" fmla="*/ 120519 w 7927954"/>
                    <a:gd name="connsiteY10" fmla="*/ 1456038 h 2777556"/>
                    <a:gd name="connsiteX11" fmla="*/ 40362 w 7927954"/>
                    <a:gd name="connsiteY11" fmla="*/ 1465563 h 2777556"/>
                    <a:gd name="connsiteX12" fmla="*/ 11729 w 7927954"/>
                    <a:gd name="connsiteY12" fmla="*/ 1515704 h 2777556"/>
                    <a:gd name="connsiteX13" fmla="*/ 6352 w 7927954"/>
                    <a:gd name="connsiteY13" fmla="*/ 1884800 h 2777556"/>
                    <a:gd name="connsiteX14" fmla="*/ 48119 w 7927954"/>
                    <a:gd name="connsiteY14" fmla="*/ 1939490 h 2777556"/>
                    <a:gd name="connsiteX15" fmla="*/ 120519 w 7927954"/>
                    <a:gd name="connsiteY15" fmla="*/ 1956160 h 2777556"/>
                    <a:gd name="connsiteX16" fmla="*/ 120519 w 7927954"/>
                    <a:gd name="connsiteY16" fmla="*/ 1456038 h 2777556"/>
                    <a:gd name="connsiteX17" fmla="*/ 120115 w 7927954"/>
                    <a:gd name="connsiteY17" fmla="*/ 920483 h 2777556"/>
                    <a:gd name="connsiteX18" fmla="*/ 39958 w 7927954"/>
                    <a:gd name="connsiteY18" fmla="*/ 930207 h 2777556"/>
                    <a:gd name="connsiteX19" fmla="*/ 11325 w 7927954"/>
                    <a:gd name="connsiteY19" fmla="*/ 981393 h 2777556"/>
                    <a:gd name="connsiteX20" fmla="*/ 5948 w 7927954"/>
                    <a:gd name="connsiteY20" fmla="*/ 1358184 h 2777556"/>
                    <a:gd name="connsiteX21" fmla="*/ 47715 w 7927954"/>
                    <a:gd name="connsiteY21" fmla="*/ 1414014 h 2777556"/>
                    <a:gd name="connsiteX22" fmla="*/ 120115 w 7927954"/>
                    <a:gd name="connsiteY22" fmla="*/ 1431031 h 2777556"/>
                    <a:gd name="connsiteX23" fmla="*/ 120115 w 7927954"/>
                    <a:gd name="connsiteY23" fmla="*/ 920483 h 2777556"/>
                    <a:gd name="connsiteX24" fmla="*/ 120519 w 7927954"/>
                    <a:gd name="connsiteY24" fmla="*/ 400264 h 2777556"/>
                    <a:gd name="connsiteX25" fmla="*/ 40362 w 7927954"/>
                    <a:gd name="connsiteY25" fmla="*/ 409988 h 2777556"/>
                    <a:gd name="connsiteX26" fmla="*/ 11729 w 7927954"/>
                    <a:gd name="connsiteY26" fmla="*/ 461174 h 2777556"/>
                    <a:gd name="connsiteX27" fmla="*/ 6352 w 7927954"/>
                    <a:gd name="connsiteY27" fmla="*/ 837964 h 2777556"/>
                    <a:gd name="connsiteX28" fmla="*/ 48119 w 7927954"/>
                    <a:gd name="connsiteY28" fmla="*/ 893794 h 2777556"/>
                    <a:gd name="connsiteX29" fmla="*/ 120519 w 7927954"/>
                    <a:gd name="connsiteY29" fmla="*/ 910811 h 2777556"/>
                    <a:gd name="connsiteX30" fmla="*/ 120519 w 7927954"/>
                    <a:gd name="connsiteY30" fmla="*/ 400264 h 2777556"/>
                    <a:gd name="connsiteX31" fmla="*/ 3150642 w 7927954"/>
                    <a:gd name="connsiteY31" fmla="*/ 197220 h 2777556"/>
                    <a:gd name="connsiteX32" fmla="*/ 3150642 w 7927954"/>
                    <a:gd name="connsiteY32" fmla="*/ 380596 h 2777556"/>
                    <a:gd name="connsiteX33" fmla="*/ 3103831 w 7927954"/>
                    <a:gd name="connsiteY33" fmla="*/ 380596 h 2777556"/>
                    <a:gd name="connsiteX34" fmla="*/ 3103831 w 7927954"/>
                    <a:gd name="connsiteY34" fmla="*/ 245993 h 2777556"/>
                    <a:gd name="connsiteX35" fmla="*/ 3129365 w 7927954"/>
                    <a:gd name="connsiteY35" fmla="*/ 228778 h 2777556"/>
                    <a:gd name="connsiteX36" fmla="*/ 4164860 w 7927954"/>
                    <a:gd name="connsiteY36" fmla="*/ 154966 h 2777556"/>
                    <a:gd name="connsiteX37" fmla="*/ 4164860 w 7927954"/>
                    <a:gd name="connsiteY37" fmla="*/ 2316976 h 2777556"/>
                    <a:gd name="connsiteX38" fmla="*/ 4163771 w 7927954"/>
                    <a:gd name="connsiteY38" fmla="*/ 2318016 h 2777556"/>
                    <a:gd name="connsiteX39" fmla="*/ 4163771 w 7927954"/>
                    <a:gd name="connsiteY39" fmla="*/ 353478 h 2777556"/>
                    <a:gd name="connsiteX40" fmla="*/ 4110323 w 7927954"/>
                    <a:gd name="connsiteY40" fmla="*/ 353478 h 2777556"/>
                    <a:gd name="connsiteX41" fmla="*/ 4110323 w 7927954"/>
                    <a:gd name="connsiteY41" fmla="*/ 239975 h 2777556"/>
                    <a:gd name="connsiteX42" fmla="*/ 4130544 w 7927954"/>
                    <a:gd name="connsiteY42" fmla="*/ 226342 h 2777556"/>
                    <a:gd name="connsiteX43" fmla="*/ 4158959 w 7927954"/>
                    <a:gd name="connsiteY43" fmla="*/ 184197 h 2777556"/>
                    <a:gd name="connsiteX44" fmla="*/ 6061014 w 7927954"/>
                    <a:gd name="connsiteY44" fmla="*/ 5295 h 2777556"/>
                    <a:gd name="connsiteX45" fmla="*/ 5938845 w 7927954"/>
                    <a:gd name="connsiteY45" fmla="*/ 86274 h 2777556"/>
                    <a:gd name="connsiteX46" fmla="*/ 5931858 w 7927954"/>
                    <a:gd name="connsiteY46" fmla="*/ 120884 h 2777556"/>
                    <a:gd name="connsiteX47" fmla="*/ 5182241 w 7927954"/>
                    <a:gd name="connsiteY47" fmla="*/ 120884 h 2777556"/>
                    <a:gd name="connsiteX48" fmla="*/ 5182241 w 7927954"/>
                    <a:gd name="connsiteY48" fmla="*/ 135024 h 2777556"/>
                    <a:gd name="connsiteX49" fmla="*/ 5182241 w 7927954"/>
                    <a:gd name="connsiteY49" fmla="*/ 2647643 h 2777556"/>
                    <a:gd name="connsiteX50" fmla="*/ 6124625 w 7927954"/>
                    <a:gd name="connsiteY50" fmla="*/ 2647643 h 2777556"/>
                    <a:gd name="connsiteX51" fmla="*/ 6124625 w 7927954"/>
                    <a:gd name="connsiteY51" fmla="*/ 2483177 h 2777556"/>
                    <a:gd name="connsiteX52" fmla="*/ 7618467 w 7927954"/>
                    <a:gd name="connsiteY52" fmla="*/ 2485550 h 2777556"/>
                    <a:gd name="connsiteX53" fmla="*/ 7898107 w 7927954"/>
                    <a:gd name="connsiteY53" fmla="*/ 2435622 h 2777556"/>
                    <a:gd name="connsiteX54" fmla="*/ 7888547 w 7927954"/>
                    <a:gd name="connsiteY54" fmla="*/ 1999852 h 2777556"/>
                    <a:gd name="connsiteX55" fmla="*/ 7628026 w 7927954"/>
                    <a:gd name="connsiteY55" fmla="*/ 1985429 h 2777556"/>
                    <a:gd name="connsiteX56" fmla="*/ 6124625 w 7927954"/>
                    <a:gd name="connsiteY56" fmla="*/ 1983055 h 2777556"/>
                    <a:gd name="connsiteX57" fmla="*/ 6124625 w 7927954"/>
                    <a:gd name="connsiteY57" fmla="*/ 1956167 h 2777556"/>
                    <a:gd name="connsiteX58" fmla="*/ 7618465 w 7927954"/>
                    <a:gd name="connsiteY58" fmla="*/ 1958540 h 2777556"/>
                    <a:gd name="connsiteX59" fmla="*/ 7898106 w 7927954"/>
                    <a:gd name="connsiteY59" fmla="*/ 1908612 h 2777556"/>
                    <a:gd name="connsiteX60" fmla="*/ 7888545 w 7927954"/>
                    <a:gd name="connsiteY60" fmla="*/ 1472842 h 2777556"/>
                    <a:gd name="connsiteX61" fmla="*/ 7628025 w 7927954"/>
                    <a:gd name="connsiteY61" fmla="*/ 1458419 h 2777556"/>
                    <a:gd name="connsiteX62" fmla="*/ 6124625 w 7927954"/>
                    <a:gd name="connsiteY62" fmla="*/ 1456045 h 2777556"/>
                    <a:gd name="connsiteX63" fmla="*/ 6124625 w 7927954"/>
                    <a:gd name="connsiteY63" fmla="*/ 1420612 h 2777556"/>
                    <a:gd name="connsiteX64" fmla="*/ 7618465 w 7927954"/>
                    <a:gd name="connsiteY64" fmla="*/ 1422985 h 2777556"/>
                    <a:gd name="connsiteX65" fmla="*/ 7898105 w 7927954"/>
                    <a:gd name="connsiteY65" fmla="*/ 1373057 h 2777556"/>
                    <a:gd name="connsiteX66" fmla="*/ 7888545 w 7927954"/>
                    <a:gd name="connsiteY66" fmla="*/ 937287 h 2777556"/>
                    <a:gd name="connsiteX67" fmla="*/ 7628024 w 7927954"/>
                    <a:gd name="connsiteY67" fmla="*/ 922864 h 2777556"/>
                    <a:gd name="connsiteX68" fmla="*/ 6124625 w 7927954"/>
                    <a:gd name="connsiteY68" fmla="*/ 920490 h 2777556"/>
                    <a:gd name="connsiteX69" fmla="*/ 6124625 w 7927954"/>
                    <a:gd name="connsiteY69" fmla="*/ 898011 h 2777556"/>
                    <a:gd name="connsiteX70" fmla="*/ 7620844 w 7927954"/>
                    <a:gd name="connsiteY70" fmla="*/ 900387 h 2777556"/>
                    <a:gd name="connsiteX71" fmla="*/ 7900485 w 7927954"/>
                    <a:gd name="connsiteY71" fmla="*/ 850459 h 2777556"/>
                    <a:gd name="connsiteX72" fmla="*/ 7890924 w 7927954"/>
                    <a:gd name="connsiteY72" fmla="*/ 414689 h 2777556"/>
                    <a:gd name="connsiteX73" fmla="*/ 7630403 w 7927954"/>
                    <a:gd name="connsiteY73" fmla="*/ 400266 h 2777556"/>
                    <a:gd name="connsiteX74" fmla="*/ 6124625 w 7927954"/>
                    <a:gd name="connsiteY74" fmla="*/ 397889 h 2777556"/>
                    <a:gd name="connsiteX75" fmla="*/ 6124625 w 7927954"/>
                    <a:gd name="connsiteY75" fmla="*/ 251959 h 2777556"/>
                    <a:gd name="connsiteX76" fmla="*/ 6154767 w 7927954"/>
                    <a:gd name="connsiteY76" fmla="*/ 231637 h 2777556"/>
                    <a:gd name="connsiteX77" fmla="*/ 6193601 w 7927954"/>
                    <a:gd name="connsiteY77" fmla="*/ 137883 h 2777556"/>
                    <a:gd name="connsiteX78" fmla="*/ 6061014 w 7927954"/>
                    <a:gd name="connsiteY78" fmla="*/ 5295 h 2777556"/>
                    <a:gd name="connsiteX79" fmla="*/ 4036790 w 7927954"/>
                    <a:gd name="connsiteY79" fmla="*/ 0 h 2777556"/>
                    <a:gd name="connsiteX80" fmla="*/ 3914622 w 7927954"/>
                    <a:gd name="connsiteY80" fmla="*/ 80979 h 2777556"/>
                    <a:gd name="connsiteX81" fmla="*/ 3904809 w 7927954"/>
                    <a:gd name="connsiteY81" fmla="*/ 129582 h 2777556"/>
                    <a:gd name="connsiteX82" fmla="*/ 3167101 w 7927954"/>
                    <a:gd name="connsiteY82" fmla="*/ 129582 h 2777556"/>
                    <a:gd name="connsiteX83" fmla="*/ 3157780 w 7927954"/>
                    <a:gd name="connsiteY83" fmla="*/ 83415 h 2777556"/>
                    <a:gd name="connsiteX84" fmla="*/ 3035611 w 7927954"/>
                    <a:gd name="connsiteY84" fmla="*/ 2436 h 2777556"/>
                    <a:gd name="connsiteX85" fmla="*/ 2913443 w 7927954"/>
                    <a:gd name="connsiteY85" fmla="*/ 83415 h 2777556"/>
                    <a:gd name="connsiteX86" fmla="*/ 2904122 w 7927954"/>
                    <a:gd name="connsiteY86" fmla="*/ 129582 h 2777556"/>
                    <a:gd name="connsiteX87" fmla="*/ 2144150 w 7927954"/>
                    <a:gd name="connsiteY87" fmla="*/ 129582 h 2777556"/>
                    <a:gd name="connsiteX88" fmla="*/ 2144150 w 7927954"/>
                    <a:gd name="connsiteY88" fmla="*/ 137754 h 2777556"/>
                    <a:gd name="connsiteX89" fmla="*/ 2144150 w 7927954"/>
                    <a:gd name="connsiteY89" fmla="*/ 2318669 h 2777556"/>
                    <a:gd name="connsiteX90" fmla="*/ 2138331 w 7927954"/>
                    <a:gd name="connsiteY90" fmla="*/ 2324118 h 2777556"/>
                    <a:gd name="connsiteX91" fmla="*/ 2138331 w 7927954"/>
                    <a:gd name="connsiteY91" fmla="*/ 394757 h 2777556"/>
                    <a:gd name="connsiteX92" fmla="*/ 2074803 w 7927954"/>
                    <a:gd name="connsiteY92" fmla="*/ 394757 h 2777556"/>
                    <a:gd name="connsiteX93" fmla="*/ 2074803 w 7927954"/>
                    <a:gd name="connsiteY93" fmla="*/ 252080 h 2777556"/>
                    <a:gd name="connsiteX94" fmla="*/ 2105316 w 7927954"/>
                    <a:gd name="connsiteY94" fmla="*/ 231508 h 2777556"/>
                    <a:gd name="connsiteX95" fmla="*/ 2144150 w 7927954"/>
                    <a:gd name="connsiteY95" fmla="*/ 137754 h 2777556"/>
                    <a:gd name="connsiteX96" fmla="*/ 2011562 w 7927954"/>
                    <a:gd name="connsiteY96" fmla="*/ 5166 h 2777556"/>
                    <a:gd name="connsiteX97" fmla="*/ 1889394 w 7927954"/>
                    <a:gd name="connsiteY97" fmla="*/ 86145 h 2777556"/>
                    <a:gd name="connsiteX98" fmla="*/ 1880624 w 7927954"/>
                    <a:gd name="connsiteY98" fmla="*/ 129581 h 2777556"/>
                    <a:gd name="connsiteX99" fmla="*/ 1133137 w 7927954"/>
                    <a:gd name="connsiteY99" fmla="*/ 129581 h 2777556"/>
                    <a:gd name="connsiteX100" fmla="*/ 1133137 w 7927954"/>
                    <a:gd name="connsiteY100" fmla="*/ 2333475 h 2777556"/>
                    <a:gd name="connsiteX101" fmla="*/ 938104 w 7927954"/>
                    <a:gd name="connsiteY101" fmla="*/ 2516101 h 2777556"/>
                    <a:gd name="connsiteX102" fmla="*/ 1218406 w 7927954"/>
                    <a:gd name="connsiteY102" fmla="*/ 2777556 h 2777556"/>
                    <a:gd name="connsiteX103" fmla="*/ 1218406 w 7927954"/>
                    <a:gd name="connsiteY103" fmla="*/ 2656340 h 2777556"/>
                    <a:gd name="connsiteX104" fmla="*/ 2074803 w 7927954"/>
                    <a:gd name="connsiteY104" fmla="*/ 2656340 h 2777556"/>
                    <a:gd name="connsiteX105" fmla="*/ 2074803 w 7927954"/>
                    <a:gd name="connsiteY105" fmla="*/ 2648085 h 2777556"/>
                    <a:gd name="connsiteX106" fmla="*/ 2213607 w 7927954"/>
                    <a:gd name="connsiteY106" fmla="*/ 2777556 h 2777556"/>
                    <a:gd name="connsiteX107" fmla="*/ 2213607 w 7927954"/>
                    <a:gd name="connsiteY107" fmla="*/ 2656341 h 2777556"/>
                    <a:gd name="connsiteX108" fmla="*/ 3103831 w 7927954"/>
                    <a:gd name="connsiteY108" fmla="*/ 2656341 h 2777556"/>
                    <a:gd name="connsiteX109" fmla="*/ 3103831 w 7927954"/>
                    <a:gd name="connsiteY109" fmla="*/ 2641351 h 2777556"/>
                    <a:gd name="connsiteX110" fmla="*/ 3232246 w 7927954"/>
                    <a:gd name="connsiteY110" fmla="*/ 2766814 h 2777556"/>
                    <a:gd name="connsiteX111" fmla="*/ 3232246 w 7927954"/>
                    <a:gd name="connsiteY111" fmla="*/ 2656341 h 2777556"/>
                    <a:gd name="connsiteX112" fmla="*/ 4110323 w 7927954"/>
                    <a:gd name="connsiteY112" fmla="*/ 2656341 h 2777556"/>
                    <a:gd name="connsiteX113" fmla="*/ 4110323 w 7927954"/>
                    <a:gd name="connsiteY113" fmla="*/ 2651650 h 2777556"/>
                    <a:gd name="connsiteX114" fmla="*/ 4231169 w 7927954"/>
                    <a:gd name="connsiteY114" fmla="*/ 2772800 h 2777556"/>
                    <a:gd name="connsiteX115" fmla="*/ 4231169 w 7927954"/>
                    <a:gd name="connsiteY115" fmla="*/ 2647644 h 2777556"/>
                    <a:gd name="connsiteX116" fmla="*/ 5124541 w 7927954"/>
                    <a:gd name="connsiteY116" fmla="*/ 2647644 h 2777556"/>
                    <a:gd name="connsiteX117" fmla="*/ 5124541 w 7927954"/>
                    <a:gd name="connsiteY117" fmla="*/ 2476376 h 2777556"/>
                    <a:gd name="connsiteX118" fmla="*/ 5181379 w 7927954"/>
                    <a:gd name="connsiteY118" fmla="*/ 2476376 h 2777556"/>
                    <a:gd name="connsiteX119" fmla="*/ 5181379 w 7927954"/>
                    <a:gd name="connsiteY119" fmla="*/ 397410 h 2777556"/>
                    <a:gd name="connsiteX120" fmla="*/ 5124541 w 7927954"/>
                    <a:gd name="connsiteY120" fmla="*/ 397410 h 2777556"/>
                    <a:gd name="connsiteX121" fmla="*/ 5124541 w 7927954"/>
                    <a:gd name="connsiteY121" fmla="*/ 241497 h 2777556"/>
                    <a:gd name="connsiteX122" fmla="*/ 5143407 w 7927954"/>
                    <a:gd name="connsiteY122" fmla="*/ 228778 h 2777556"/>
                    <a:gd name="connsiteX123" fmla="*/ 5182241 w 7927954"/>
                    <a:gd name="connsiteY123" fmla="*/ 135024 h 2777556"/>
                    <a:gd name="connsiteX124" fmla="*/ 5049653 w 7927954"/>
                    <a:gd name="connsiteY124" fmla="*/ 2436 h 2777556"/>
                    <a:gd name="connsiteX125" fmla="*/ 4927485 w 7927954"/>
                    <a:gd name="connsiteY125" fmla="*/ 83415 h 2777556"/>
                    <a:gd name="connsiteX126" fmla="*/ 4919920 w 7927954"/>
                    <a:gd name="connsiteY126" fmla="*/ 120885 h 2777556"/>
                    <a:gd name="connsiteX127" fmla="*/ 4167015 w 7927954"/>
                    <a:gd name="connsiteY127" fmla="*/ 120885 h 2777556"/>
                    <a:gd name="connsiteX128" fmla="*/ 4158959 w 7927954"/>
                    <a:gd name="connsiteY128" fmla="*/ 80979 h 2777556"/>
                    <a:gd name="connsiteX129" fmla="*/ 4036790 w 7927954"/>
                    <a:gd name="connsiteY129" fmla="*/ 0 h 277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7927954" h="2777556">
                      <a:moveTo>
                        <a:pt x="7450235" y="2548556"/>
                      </a:moveTo>
                      <a:lnTo>
                        <a:pt x="7340972" y="2653612"/>
                      </a:lnTo>
                      <a:lnTo>
                        <a:pt x="7450235" y="2764126"/>
                      </a:lnTo>
                      <a:close/>
                      <a:moveTo>
                        <a:pt x="114966" y="1983048"/>
                      </a:moveTo>
                      <a:lnTo>
                        <a:pt x="34809" y="1992596"/>
                      </a:lnTo>
                      <a:cubicBezTo>
                        <a:pt x="14681" y="2001768"/>
                        <a:pt x="16049" y="2010623"/>
                        <a:pt x="6176" y="2042856"/>
                      </a:cubicBezTo>
                      <a:cubicBezTo>
                        <a:pt x="3695" y="2099369"/>
                        <a:pt x="-2117" y="2333677"/>
                        <a:pt x="799" y="2412830"/>
                      </a:cubicBezTo>
                      <a:cubicBezTo>
                        <a:pt x="34671" y="2480049"/>
                        <a:pt x="24561" y="2450557"/>
                        <a:pt x="42566" y="2467650"/>
                      </a:cubicBezTo>
                      <a:lnTo>
                        <a:pt x="114966" y="2484360"/>
                      </a:lnTo>
                      <a:cubicBezTo>
                        <a:pt x="115069" y="2318051"/>
                        <a:pt x="114864" y="2149357"/>
                        <a:pt x="114966" y="1983048"/>
                      </a:cubicBezTo>
                      <a:close/>
                      <a:moveTo>
                        <a:pt x="120519" y="1456038"/>
                      </a:moveTo>
                      <a:lnTo>
                        <a:pt x="40362" y="1465563"/>
                      </a:lnTo>
                      <a:cubicBezTo>
                        <a:pt x="20234" y="1474713"/>
                        <a:pt x="21602" y="1483547"/>
                        <a:pt x="11729" y="1515704"/>
                      </a:cubicBezTo>
                      <a:cubicBezTo>
                        <a:pt x="9248" y="1572083"/>
                        <a:pt x="3436" y="1805835"/>
                        <a:pt x="6352" y="1884800"/>
                      </a:cubicBezTo>
                      <a:cubicBezTo>
                        <a:pt x="40224" y="1951859"/>
                        <a:pt x="30114" y="1922437"/>
                        <a:pt x="48119" y="1939490"/>
                      </a:cubicBezTo>
                      <a:lnTo>
                        <a:pt x="120519" y="1956160"/>
                      </a:lnTo>
                      <a:cubicBezTo>
                        <a:pt x="120622" y="1790246"/>
                        <a:pt x="120417" y="1621952"/>
                        <a:pt x="120519" y="1456038"/>
                      </a:cubicBezTo>
                      <a:close/>
                      <a:moveTo>
                        <a:pt x="120115" y="920483"/>
                      </a:moveTo>
                      <a:lnTo>
                        <a:pt x="39958" y="930207"/>
                      </a:lnTo>
                      <a:cubicBezTo>
                        <a:pt x="19830" y="939547"/>
                        <a:pt x="21198" y="948566"/>
                        <a:pt x="11325" y="981393"/>
                      </a:cubicBezTo>
                      <a:cubicBezTo>
                        <a:pt x="8844" y="1038947"/>
                        <a:pt x="3032" y="1277572"/>
                        <a:pt x="5948" y="1358184"/>
                      </a:cubicBezTo>
                      <a:cubicBezTo>
                        <a:pt x="39820" y="1426640"/>
                        <a:pt x="29710" y="1396605"/>
                        <a:pt x="47715" y="1414014"/>
                      </a:cubicBezTo>
                      <a:lnTo>
                        <a:pt x="120115" y="1431031"/>
                      </a:lnTo>
                      <a:cubicBezTo>
                        <a:pt x="120218" y="1261658"/>
                        <a:pt x="120013" y="1089856"/>
                        <a:pt x="120115" y="920483"/>
                      </a:cubicBezTo>
                      <a:close/>
                      <a:moveTo>
                        <a:pt x="120519" y="400264"/>
                      </a:moveTo>
                      <a:lnTo>
                        <a:pt x="40362" y="409988"/>
                      </a:lnTo>
                      <a:cubicBezTo>
                        <a:pt x="20234" y="419328"/>
                        <a:pt x="21602" y="428346"/>
                        <a:pt x="11729" y="461174"/>
                      </a:cubicBezTo>
                      <a:cubicBezTo>
                        <a:pt x="9248" y="518728"/>
                        <a:pt x="3436" y="757353"/>
                        <a:pt x="6352" y="837964"/>
                      </a:cubicBezTo>
                      <a:cubicBezTo>
                        <a:pt x="40224" y="906420"/>
                        <a:pt x="30114" y="876385"/>
                        <a:pt x="48119" y="893794"/>
                      </a:cubicBezTo>
                      <a:lnTo>
                        <a:pt x="120519" y="910811"/>
                      </a:lnTo>
                      <a:cubicBezTo>
                        <a:pt x="120622" y="741439"/>
                        <a:pt x="120417" y="569637"/>
                        <a:pt x="120519" y="400264"/>
                      </a:cubicBezTo>
                      <a:close/>
                      <a:moveTo>
                        <a:pt x="3150642" y="197220"/>
                      </a:moveTo>
                      <a:lnTo>
                        <a:pt x="3150642" y="380596"/>
                      </a:lnTo>
                      <a:lnTo>
                        <a:pt x="3103831" y="380596"/>
                      </a:lnTo>
                      <a:lnTo>
                        <a:pt x="3103831" y="245993"/>
                      </a:lnTo>
                      <a:lnTo>
                        <a:pt x="3129365" y="228778"/>
                      </a:lnTo>
                      <a:close/>
                      <a:moveTo>
                        <a:pt x="4164860" y="154966"/>
                      </a:moveTo>
                      <a:lnTo>
                        <a:pt x="4164860" y="2316976"/>
                      </a:lnTo>
                      <a:lnTo>
                        <a:pt x="4163771" y="2318016"/>
                      </a:lnTo>
                      <a:lnTo>
                        <a:pt x="4163771" y="353478"/>
                      </a:lnTo>
                      <a:lnTo>
                        <a:pt x="4110323" y="353478"/>
                      </a:lnTo>
                      <a:lnTo>
                        <a:pt x="4110323" y="239975"/>
                      </a:lnTo>
                      <a:lnTo>
                        <a:pt x="4130544" y="226342"/>
                      </a:lnTo>
                      <a:cubicBezTo>
                        <a:pt x="4142541" y="214345"/>
                        <a:pt x="4152249" y="200060"/>
                        <a:pt x="4158959" y="184197"/>
                      </a:cubicBezTo>
                      <a:close/>
                      <a:moveTo>
                        <a:pt x="6061014" y="5295"/>
                      </a:moveTo>
                      <a:cubicBezTo>
                        <a:pt x="6006094" y="5295"/>
                        <a:pt x="5958973" y="38686"/>
                        <a:pt x="5938845" y="86274"/>
                      </a:cubicBezTo>
                      <a:lnTo>
                        <a:pt x="5931858" y="120884"/>
                      </a:lnTo>
                      <a:lnTo>
                        <a:pt x="5182241" y="120884"/>
                      </a:lnTo>
                      <a:lnTo>
                        <a:pt x="5182241" y="135024"/>
                      </a:lnTo>
                      <a:lnTo>
                        <a:pt x="5182241" y="2647643"/>
                      </a:lnTo>
                      <a:lnTo>
                        <a:pt x="6124625" y="2647643"/>
                      </a:lnTo>
                      <a:lnTo>
                        <a:pt x="6124625" y="2483177"/>
                      </a:lnTo>
                      <a:lnTo>
                        <a:pt x="7618467" y="2485550"/>
                      </a:lnTo>
                      <a:cubicBezTo>
                        <a:pt x="7898881" y="2468497"/>
                        <a:pt x="7852695" y="2514587"/>
                        <a:pt x="7898107" y="2435622"/>
                      </a:cubicBezTo>
                      <a:cubicBezTo>
                        <a:pt x="7943519" y="2356657"/>
                        <a:pt x="7927187" y="2056231"/>
                        <a:pt x="7888547" y="1999852"/>
                      </a:cubicBezTo>
                      <a:cubicBezTo>
                        <a:pt x="7734782" y="1967695"/>
                        <a:pt x="7941504" y="1994579"/>
                        <a:pt x="7628026" y="1985429"/>
                      </a:cubicBezTo>
                      <a:lnTo>
                        <a:pt x="6124625" y="1983055"/>
                      </a:lnTo>
                      <a:lnTo>
                        <a:pt x="6124625" y="1956167"/>
                      </a:lnTo>
                      <a:lnTo>
                        <a:pt x="7618465" y="1958540"/>
                      </a:lnTo>
                      <a:cubicBezTo>
                        <a:pt x="7898879" y="1941487"/>
                        <a:pt x="7852693" y="1987577"/>
                        <a:pt x="7898106" y="1908612"/>
                      </a:cubicBezTo>
                      <a:cubicBezTo>
                        <a:pt x="7943518" y="1829647"/>
                        <a:pt x="7927186" y="1529221"/>
                        <a:pt x="7888545" y="1472842"/>
                      </a:cubicBezTo>
                      <a:cubicBezTo>
                        <a:pt x="7734781" y="1440685"/>
                        <a:pt x="7941503" y="1467569"/>
                        <a:pt x="7628025" y="1458419"/>
                      </a:cubicBezTo>
                      <a:lnTo>
                        <a:pt x="6124625" y="1456045"/>
                      </a:lnTo>
                      <a:lnTo>
                        <a:pt x="6124625" y="1420612"/>
                      </a:lnTo>
                      <a:lnTo>
                        <a:pt x="7618465" y="1422985"/>
                      </a:lnTo>
                      <a:cubicBezTo>
                        <a:pt x="7898879" y="1405932"/>
                        <a:pt x="7852693" y="1452022"/>
                        <a:pt x="7898105" y="1373057"/>
                      </a:cubicBezTo>
                      <a:cubicBezTo>
                        <a:pt x="7943516" y="1294092"/>
                        <a:pt x="7927185" y="993666"/>
                        <a:pt x="7888545" y="937287"/>
                      </a:cubicBezTo>
                      <a:cubicBezTo>
                        <a:pt x="7734780" y="905130"/>
                        <a:pt x="7941502" y="932014"/>
                        <a:pt x="7628024" y="922864"/>
                      </a:cubicBezTo>
                      <a:lnTo>
                        <a:pt x="6124625" y="920490"/>
                      </a:lnTo>
                      <a:lnTo>
                        <a:pt x="6124625" y="898011"/>
                      </a:lnTo>
                      <a:lnTo>
                        <a:pt x="7620844" y="900387"/>
                      </a:lnTo>
                      <a:cubicBezTo>
                        <a:pt x="7901258" y="883334"/>
                        <a:pt x="7855072" y="929424"/>
                        <a:pt x="7900485" y="850459"/>
                      </a:cubicBezTo>
                      <a:cubicBezTo>
                        <a:pt x="7945897" y="771494"/>
                        <a:pt x="7929564" y="471068"/>
                        <a:pt x="7890924" y="414689"/>
                      </a:cubicBezTo>
                      <a:cubicBezTo>
                        <a:pt x="7737159" y="382532"/>
                        <a:pt x="7943881" y="409416"/>
                        <a:pt x="7630403" y="400266"/>
                      </a:cubicBezTo>
                      <a:lnTo>
                        <a:pt x="6124625" y="397889"/>
                      </a:lnTo>
                      <a:lnTo>
                        <a:pt x="6124625" y="251959"/>
                      </a:lnTo>
                      <a:lnTo>
                        <a:pt x="6154767" y="231637"/>
                      </a:lnTo>
                      <a:cubicBezTo>
                        <a:pt x="6178761" y="207643"/>
                        <a:pt x="6193601" y="174496"/>
                        <a:pt x="6193601" y="137883"/>
                      </a:cubicBezTo>
                      <a:cubicBezTo>
                        <a:pt x="6193601" y="64657"/>
                        <a:pt x="6134239" y="5295"/>
                        <a:pt x="6061014" y="5295"/>
                      </a:cubicBezTo>
                      <a:close/>
                      <a:moveTo>
                        <a:pt x="4036790" y="0"/>
                      </a:moveTo>
                      <a:cubicBezTo>
                        <a:pt x="3981871" y="0"/>
                        <a:pt x="3934750" y="33391"/>
                        <a:pt x="3914622" y="80979"/>
                      </a:cubicBezTo>
                      <a:lnTo>
                        <a:pt x="3904809" y="129582"/>
                      </a:lnTo>
                      <a:lnTo>
                        <a:pt x="3167101" y="129582"/>
                      </a:lnTo>
                      <a:lnTo>
                        <a:pt x="3157780" y="83415"/>
                      </a:lnTo>
                      <a:cubicBezTo>
                        <a:pt x="3137652" y="35827"/>
                        <a:pt x="3090531" y="2436"/>
                        <a:pt x="3035611" y="2436"/>
                      </a:cubicBezTo>
                      <a:cubicBezTo>
                        <a:pt x="2980692" y="2436"/>
                        <a:pt x="2933571" y="35827"/>
                        <a:pt x="2913443" y="83415"/>
                      </a:cubicBezTo>
                      <a:lnTo>
                        <a:pt x="2904122" y="129582"/>
                      </a:lnTo>
                      <a:lnTo>
                        <a:pt x="2144150" y="129582"/>
                      </a:lnTo>
                      <a:lnTo>
                        <a:pt x="2144150" y="137754"/>
                      </a:lnTo>
                      <a:lnTo>
                        <a:pt x="2144150" y="2318669"/>
                      </a:lnTo>
                      <a:lnTo>
                        <a:pt x="2138331" y="2324118"/>
                      </a:lnTo>
                      <a:lnTo>
                        <a:pt x="2138331" y="394757"/>
                      </a:lnTo>
                      <a:lnTo>
                        <a:pt x="2074803" y="394757"/>
                      </a:lnTo>
                      <a:lnTo>
                        <a:pt x="2074803" y="252080"/>
                      </a:lnTo>
                      <a:lnTo>
                        <a:pt x="2105316" y="231508"/>
                      </a:lnTo>
                      <a:cubicBezTo>
                        <a:pt x="2129310" y="207514"/>
                        <a:pt x="2144150" y="174367"/>
                        <a:pt x="2144150" y="137754"/>
                      </a:cubicBezTo>
                      <a:cubicBezTo>
                        <a:pt x="2144150" y="64528"/>
                        <a:pt x="2084788" y="5166"/>
                        <a:pt x="2011562" y="5166"/>
                      </a:cubicBezTo>
                      <a:cubicBezTo>
                        <a:pt x="1956643" y="5166"/>
                        <a:pt x="1909522" y="38557"/>
                        <a:pt x="1889394" y="86145"/>
                      </a:cubicBezTo>
                      <a:lnTo>
                        <a:pt x="1880624" y="129581"/>
                      </a:lnTo>
                      <a:lnTo>
                        <a:pt x="1133137" y="129581"/>
                      </a:lnTo>
                      <a:lnTo>
                        <a:pt x="1133137" y="2333475"/>
                      </a:lnTo>
                      <a:lnTo>
                        <a:pt x="938104" y="2516101"/>
                      </a:lnTo>
                      <a:lnTo>
                        <a:pt x="1218406" y="2777556"/>
                      </a:lnTo>
                      <a:lnTo>
                        <a:pt x="1218406" y="2656340"/>
                      </a:lnTo>
                      <a:lnTo>
                        <a:pt x="2074803" y="2656340"/>
                      </a:lnTo>
                      <a:lnTo>
                        <a:pt x="2074803" y="2648085"/>
                      </a:lnTo>
                      <a:lnTo>
                        <a:pt x="2213607" y="2777556"/>
                      </a:lnTo>
                      <a:lnTo>
                        <a:pt x="2213607" y="2656341"/>
                      </a:lnTo>
                      <a:lnTo>
                        <a:pt x="3103831" y="2656341"/>
                      </a:lnTo>
                      <a:lnTo>
                        <a:pt x="3103831" y="2641351"/>
                      </a:lnTo>
                      <a:lnTo>
                        <a:pt x="3232246" y="2766814"/>
                      </a:lnTo>
                      <a:lnTo>
                        <a:pt x="3232246" y="2656341"/>
                      </a:lnTo>
                      <a:lnTo>
                        <a:pt x="4110323" y="2656341"/>
                      </a:lnTo>
                      <a:lnTo>
                        <a:pt x="4110323" y="2651650"/>
                      </a:lnTo>
                      <a:lnTo>
                        <a:pt x="4231169" y="2772800"/>
                      </a:lnTo>
                      <a:lnTo>
                        <a:pt x="4231169" y="2647644"/>
                      </a:lnTo>
                      <a:lnTo>
                        <a:pt x="5124541" y="2647644"/>
                      </a:lnTo>
                      <a:lnTo>
                        <a:pt x="5124541" y="2476376"/>
                      </a:lnTo>
                      <a:lnTo>
                        <a:pt x="5181379" y="2476376"/>
                      </a:lnTo>
                      <a:lnTo>
                        <a:pt x="5181379" y="397410"/>
                      </a:lnTo>
                      <a:lnTo>
                        <a:pt x="5124541" y="397410"/>
                      </a:lnTo>
                      <a:lnTo>
                        <a:pt x="5124541" y="241497"/>
                      </a:lnTo>
                      <a:lnTo>
                        <a:pt x="5143407" y="228778"/>
                      </a:lnTo>
                      <a:cubicBezTo>
                        <a:pt x="5167401" y="204784"/>
                        <a:pt x="5182241" y="171637"/>
                        <a:pt x="5182241" y="135024"/>
                      </a:cubicBezTo>
                      <a:cubicBezTo>
                        <a:pt x="5182241" y="61798"/>
                        <a:pt x="5122879" y="2436"/>
                        <a:pt x="5049653" y="2436"/>
                      </a:cubicBezTo>
                      <a:cubicBezTo>
                        <a:pt x="4994734" y="2436"/>
                        <a:pt x="4947613" y="35827"/>
                        <a:pt x="4927485" y="83415"/>
                      </a:cubicBezTo>
                      <a:lnTo>
                        <a:pt x="4919920" y="120885"/>
                      </a:lnTo>
                      <a:lnTo>
                        <a:pt x="4167015" y="120885"/>
                      </a:lnTo>
                      <a:lnTo>
                        <a:pt x="4158959" y="80979"/>
                      </a:lnTo>
                      <a:cubicBezTo>
                        <a:pt x="4138831" y="33391"/>
                        <a:pt x="4091710" y="0"/>
                        <a:pt x="4036790" y="0"/>
                      </a:cubicBezTo>
                      <a:close/>
                    </a:path>
                  </a:pathLst>
                </a:cu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74" name="Rectangle 73">
                  <a:extLst>
                    <a:ext uri="{FF2B5EF4-FFF2-40B4-BE49-F238E27FC236}">
                      <a16:creationId xmlns:a16="http://schemas.microsoft.com/office/drawing/2014/main" id="{70669500-096D-4C33-878A-AD4FA020865E}"/>
                    </a:ext>
                  </a:extLst>
                </p:cNvPr>
                <p:cNvSpPr/>
                <p:nvPr/>
              </p:nvSpPr>
              <p:spPr>
                <a:xfrm>
                  <a:off x="2749850" y="4204107"/>
                  <a:ext cx="927701" cy="298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49" name="Oval 48">
                <a:extLst>
                  <a:ext uri="{FF2B5EF4-FFF2-40B4-BE49-F238E27FC236}">
                    <a16:creationId xmlns:a16="http://schemas.microsoft.com/office/drawing/2014/main" id="{8AC16BE8-6BAE-48CB-A5D2-B5C38C89B014}"/>
                  </a:ext>
                </a:extLst>
              </p:cNvPr>
              <p:cNvSpPr/>
              <p:nvPr/>
            </p:nvSpPr>
            <p:spPr>
              <a:xfrm>
                <a:off x="4856107" y="1664820"/>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0" name="Oval 49">
                <a:extLst>
                  <a:ext uri="{FF2B5EF4-FFF2-40B4-BE49-F238E27FC236}">
                    <a16:creationId xmlns:a16="http://schemas.microsoft.com/office/drawing/2014/main" id="{166BF12E-AE96-4704-9EFF-B2F685E32430}"/>
                  </a:ext>
                </a:extLst>
              </p:cNvPr>
              <p:cNvSpPr/>
              <p:nvPr/>
            </p:nvSpPr>
            <p:spPr>
              <a:xfrm>
                <a:off x="5869276" y="1664819"/>
                <a:ext cx="274368" cy="275105"/>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1" name="Oval 50">
                <a:extLst>
                  <a:ext uri="{FF2B5EF4-FFF2-40B4-BE49-F238E27FC236}">
                    <a16:creationId xmlns:a16="http://schemas.microsoft.com/office/drawing/2014/main" id="{C7AFF1F0-29CD-4B44-90F1-1566A3675BCF}"/>
                  </a:ext>
                </a:extLst>
              </p:cNvPr>
              <p:cNvSpPr/>
              <p:nvPr/>
            </p:nvSpPr>
            <p:spPr>
              <a:xfrm>
                <a:off x="6877368" y="1663726"/>
                <a:ext cx="265176" cy="263588"/>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3" name="Oval 52">
                <a:extLst>
                  <a:ext uri="{FF2B5EF4-FFF2-40B4-BE49-F238E27FC236}">
                    <a16:creationId xmlns:a16="http://schemas.microsoft.com/office/drawing/2014/main" id="{6DF39E0E-9D10-4EFF-92FE-59516071A9DC}"/>
                  </a:ext>
                </a:extLst>
              </p:cNvPr>
              <p:cNvSpPr/>
              <p:nvPr/>
            </p:nvSpPr>
            <p:spPr>
              <a:xfrm>
                <a:off x="7902032" y="1662138"/>
                <a:ext cx="265176" cy="265176"/>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68" name="Oval 67">
                <a:extLst>
                  <a:ext uri="{FF2B5EF4-FFF2-40B4-BE49-F238E27FC236}">
                    <a16:creationId xmlns:a16="http://schemas.microsoft.com/office/drawing/2014/main" id="{3513BE02-5A7B-4526-BAB2-2BC4D532EEEC}"/>
                  </a:ext>
                </a:extLst>
              </p:cNvPr>
              <p:cNvSpPr/>
              <p:nvPr/>
            </p:nvSpPr>
            <p:spPr>
              <a:xfrm>
                <a:off x="3842032" y="1655832"/>
                <a:ext cx="274368" cy="277787"/>
              </a:xfrm>
              <a:prstGeom prst="ellipse">
                <a:avLst/>
              </a:prstGeom>
              <a:solidFill>
                <a:srgbClr val="F7F7F7">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75" name="TextBox 74">
              <a:extLst>
                <a:ext uri="{FF2B5EF4-FFF2-40B4-BE49-F238E27FC236}">
                  <a16:creationId xmlns:a16="http://schemas.microsoft.com/office/drawing/2014/main" id="{7C273E8B-A143-4E54-A0E5-0EC29AC2E221}"/>
                </a:ext>
              </a:extLst>
            </p:cNvPr>
            <p:cNvSpPr txBox="1"/>
            <p:nvPr/>
          </p:nvSpPr>
          <p:spPr>
            <a:xfrm>
              <a:off x="691006" y="3291129"/>
              <a:ext cx="1148265" cy="2082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1" u="none" strike="noStrike" kern="0" cap="none" spc="0" normalizeH="0" baseline="0" noProof="0">
                  <a:ln>
                    <a:noFill/>
                  </a:ln>
                  <a:solidFill>
                    <a:srgbClr val="EEEEEE">
                      <a:lumMod val="50000"/>
                      <a:alpha val="72000"/>
                    </a:srgbClr>
                  </a:solidFill>
                  <a:effectLst/>
                  <a:uLnTx/>
                  <a:uFillTx/>
                  <a:latin typeface="Arial"/>
                  <a:cs typeface="Arial"/>
                  <a:sym typeface="Arial"/>
                </a:rPr>
                <a:t>= Progress Review</a:t>
              </a:r>
            </a:p>
          </p:txBody>
        </p:sp>
      </p:grpSp>
      <p:sp>
        <p:nvSpPr>
          <p:cNvPr id="76" name="Content Placeholder 2">
            <a:extLst>
              <a:ext uri="{FF2B5EF4-FFF2-40B4-BE49-F238E27FC236}">
                <a16:creationId xmlns:a16="http://schemas.microsoft.com/office/drawing/2014/main" id="{F3E899A0-DF71-4F64-B7AA-D2365AE2B9EF}"/>
              </a:ext>
            </a:extLst>
          </p:cNvPr>
          <p:cNvSpPr txBox="1">
            <a:spLocks/>
          </p:cNvSpPr>
          <p:nvPr/>
        </p:nvSpPr>
        <p:spPr>
          <a:xfrm>
            <a:off x="491273" y="3714419"/>
            <a:ext cx="1880880"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Inputs</a:t>
            </a:r>
            <a:endParaRPr kumimoji="0" lang="en-US" sz="11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89" name="Content Placeholder 2">
            <a:extLst>
              <a:ext uri="{FF2B5EF4-FFF2-40B4-BE49-F238E27FC236}">
                <a16:creationId xmlns:a16="http://schemas.microsoft.com/office/drawing/2014/main" id="{77645F0D-8AA2-43A6-A0EF-88B742CC618A}"/>
              </a:ext>
            </a:extLst>
          </p:cNvPr>
          <p:cNvSpPr txBox="1">
            <a:spLocks/>
          </p:cNvSpPr>
          <p:nvPr/>
        </p:nvSpPr>
        <p:spPr>
          <a:xfrm>
            <a:off x="3681212" y="3714419"/>
            <a:ext cx="1743867"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Outputs</a:t>
            </a:r>
            <a:endParaRPr kumimoji="0" lang="en-US" sz="14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0" name="Content Placeholder 2">
            <a:extLst>
              <a:ext uri="{FF2B5EF4-FFF2-40B4-BE49-F238E27FC236}">
                <a16:creationId xmlns:a16="http://schemas.microsoft.com/office/drawing/2014/main" id="{E2A98A7D-A95D-4265-A29D-F0CCF75628F0}"/>
              </a:ext>
            </a:extLst>
          </p:cNvPr>
          <p:cNvSpPr txBox="1">
            <a:spLocks/>
          </p:cNvSpPr>
          <p:nvPr/>
        </p:nvSpPr>
        <p:spPr>
          <a:xfrm>
            <a:off x="483528" y="5153054"/>
            <a:ext cx="2254582"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ts val="400"/>
              <a:buFont typeface="Arial" panose="020B0604020202020204" pitchFamily="34" charset="0"/>
              <a:buNone/>
              <a:tabLst/>
              <a:defRPr/>
            </a:pPr>
            <a:r>
              <a:rPr kumimoji="0" lang="en-US" sz="1400" b="1" i="0" u="none" strike="noStrike" kern="1200" cap="none" spc="0" normalizeH="0" baseline="0" noProof="0">
                <a:ln>
                  <a:noFill/>
                </a:ln>
                <a:solidFill>
                  <a:srgbClr val="005087"/>
                </a:solidFill>
                <a:effectLst/>
                <a:uLnTx/>
                <a:uFillTx/>
                <a:latin typeface="Arial" panose="020B0604020202020204"/>
                <a:ea typeface="Arial"/>
                <a:cs typeface="Arial"/>
                <a:sym typeface="Arial"/>
              </a:rPr>
              <a:t>Example Stakeholders</a:t>
            </a:r>
            <a:endParaRPr kumimoji="0" lang="en-US" sz="1200" b="1" i="0" u="none" strike="noStrike" kern="1200" cap="none" spc="0" normalizeH="0" baseline="0" noProof="0">
              <a:ln>
                <a:noFill/>
              </a:ln>
              <a:solidFill>
                <a:srgbClr val="005087"/>
              </a:solidFill>
              <a:effectLst/>
              <a:uLnTx/>
              <a:uFillTx/>
              <a:latin typeface="Arial" panose="020B0604020202020204"/>
              <a:ea typeface="+mn-ea"/>
              <a:cs typeface="+mn-cs"/>
            </a:endParaRPr>
          </a:p>
        </p:txBody>
      </p:sp>
      <p:sp>
        <p:nvSpPr>
          <p:cNvPr id="91" name="TextBox 90">
            <a:extLst>
              <a:ext uri="{FF2B5EF4-FFF2-40B4-BE49-F238E27FC236}">
                <a16:creationId xmlns:a16="http://schemas.microsoft.com/office/drawing/2014/main" id="{801BC5BD-ADA2-4D56-9DC6-ABE5CC4E1B13}"/>
              </a:ext>
            </a:extLst>
          </p:cNvPr>
          <p:cNvSpPr txBox="1"/>
          <p:nvPr/>
        </p:nvSpPr>
        <p:spPr>
          <a:xfrm>
            <a:off x="7266248" y="6470392"/>
            <a:ext cx="4724400" cy="261610"/>
          </a:xfrm>
          <a:prstGeom prst="rect">
            <a:avLst/>
          </a:prstGeom>
          <a:noFill/>
        </p:spPr>
        <p:txBody>
          <a:bodyPr wrap="square" rtlCol="0">
            <a:spAutoFit/>
          </a:bodyPr>
          <a:lstStyle/>
          <a:p>
            <a:pPr algn="ctr"/>
            <a:r>
              <a:rPr lang="en-US" sz="1100" i="1" dirty="0">
                <a:solidFill>
                  <a:schemeClr val="bg1"/>
                </a:solidFill>
              </a:rPr>
              <a:t>- Last published June 2022 -</a:t>
            </a:r>
          </a:p>
        </p:txBody>
      </p:sp>
      <p:grpSp>
        <p:nvGrpSpPr>
          <p:cNvPr id="8" name="Group 7">
            <a:extLst>
              <a:ext uri="{FF2B5EF4-FFF2-40B4-BE49-F238E27FC236}">
                <a16:creationId xmlns:a16="http://schemas.microsoft.com/office/drawing/2014/main" id="{ECF485B2-EC19-4557-8323-85D6CE6DDFFB}"/>
              </a:ext>
            </a:extLst>
          </p:cNvPr>
          <p:cNvGrpSpPr/>
          <p:nvPr/>
        </p:nvGrpSpPr>
        <p:grpSpPr>
          <a:xfrm>
            <a:off x="7568419" y="1800961"/>
            <a:ext cx="4315662" cy="646331"/>
            <a:chOff x="7568419" y="1810696"/>
            <a:chExt cx="4315662" cy="646331"/>
          </a:xfrm>
        </p:grpSpPr>
        <p:sp>
          <p:nvSpPr>
            <p:cNvPr id="58" name="TextBox 57">
              <a:extLst>
                <a:ext uri="{FF2B5EF4-FFF2-40B4-BE49-F238E27FC236}">
                  <a16:creationId xmlns:a16="http://schemas.microsoft.com/office/drawing/2014/main" id="{0BE6BFF9-5BEF-4335-862B-42089F92A6AB}"/>
                </a:ext>
              </a:extLst>
            </p:cNvPr>
            <p:cNvSpPr txBox="1"/>
            <p:nvPr/>
          </p:nvSpPr>
          <p:spPr>
            <a:xfrm>
              <a:off x="8247307" y="1810696"/>
              <a:ext cx="3636774"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Evaluate and measure migration’s performance and success to identify successes and areas for improvement</a:t>
              </a:r>
            </a:p>
          </p:txBody>
        </p:sp>
        <p:pic>
          <p:nvPicPr>
            <p:cNvPr id="79" name="Picture 78">
              <a:extLst>
                <a:ext uri="{FF2B5EF4-FFF2-40B4-BE49-F238E27FC236}">
                  <a16:creationId xmlns:a16="http://schemas.microsoft.com/office/drawing/2014/main" id="{CBD8BBC9-1845-4BD7-A054-B9010DA281DD}"/>
                </a:ext>
              </a:extLst>
            </p:cNvPr>
            <p:cNvPicPr>
              <a:picLocks noChangeAspect="1"/>
            </p:cNvPicPr>
            <p:nvPr/>
          </p:nvPicPr>
          <p:blipFill>
            <a:blip r:embed="rId6"/>
            <a:stretch>
              <a:fillRect/>
            </a:stretch>
          </p:blipFill>
          <p:spPr>
            <a:xfrm>
              <a:off x="7568419" y="1954914"/>
              <a:ext cx="308187" cy="357895"/>
            </a:xfrm>
            <a:prstGeom prst="rect">
              <a:avLst/>
            </a:prstGeom>
          </p:spPr>
        </p:pic>
      </p:grpSp>
      <p:grpSp>
        <p:nvGrpSpPr>
          <p:cNvPr id="10" name="Group 9">
            <a:extLst>
              <a:ext uri="{FF2B5EF4-FFF2-40B4-BE49-F238E27FC236}">
                <a16:creationId xmlns:a16="http://schemas.microsoft.com/office/drawing/2014/main" id="{A21EF486-30B9-4D56-B48A-A35D76AA36B7}"/>
              </a:ext>
            </a:extLst>
          </p:cNvPr>
          <p:cNvGrpSpPr/>
          <p:nvPr/>
        </p:nvGrpSpPr>
        <p:grpSpPr>
          <a:xfrm>
            <a:off x="7506743" y="3069339"/>
            <a:ext cx="4417515" cy="646331"/>
            <a:chOff x="7506743" y="3098544"/>
            <a:chExt cx="4417515" cy="646331"/>
          </a:xfrm>
        </p:grpSpPr>
        <p:sp>
          <p:nvSpPr>
            <p:cNvPr id="78" name="TextBox 77">
              <a:extLst>
                <a:ext uri="{FF2B5EF4-FFF2-40B4-BE49-F238E27FC236}">
                  <a16:creationId xmlns:a16="http://schemas.microsoft.com/office/drawing/2014/main" id="{ABFD2DED-33F3-4048-AFD4-8D5ED92BFE5F}"/>
                </a:ext>
              </a:extLst>
            </p:cNvPr>
            <p:cNvSpPr txBox="1"/>
            <p:nvPr/>
          </p:nvSpPr>
          <p:spPr>
            <a:xfrm>
              <a:off x="8250174" y="3098544"/>
              <a:ext cx="3674084"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Maintain regular communication with stakeholders and assess effectiveness of the training after migration is complete </a:t>
              </a:r>
            </a:p>
          </p:txBody>
        </p:sp>
        <p:pic>
          <p:nvPicPr>
            <p:cNvPr id="80" name="Picture 79">
              <a:extLst>
                <a:ext uri="{FF2B5EF4-FFF2-40B4-BE49-F238E27FC236}">
                  <a16:creationId xmlns:a16="http://schemas.microsoft.com/office/drawing/2014/main" id="{0F568125-66D0-437D-AF08-4A86D721D845}"/>
                </a:ext>
              </a:extLst>
            </p:cNvPr>
            <p:cNvPicPr>
              <a:picLocks noChangeAspect="1"/>
            </p:cNvPicPr>
            <p:nvPr/>
          </p:nvPicPr>
          <p:blipFill>
            <a:blip r:embed="rId7"/>
            <a:stretch>
              <a:fillRect/>
            </a:stretch>
          </p:blipFill>
          <p:spPr>
            <a:xfrm>
              <a:off x="7506743" y="3241065"/>
              <a:ext cx="431538" cy="361288"/>
            </a:xfrm>
            <a:prstGeom prst="rect">
              <a:avLst/>
            </a:prstGeom>
          </p:spPr>
        </p:pic>
      </p:grpSp>
      <p:grpSp>
        <p:nvGrpSpPr>
          <p:cNvPr id="3" name="Group 2">
            <a:extLst>
              <a:ext uri="{FF2B5EF4-FFF2-40B4-BE49-F238E27FC236}">
                <a16:creationId xmlns:a16="http://schemas.microsoft.com/office/drawing/2014/main" id="{C9568903-AC74-419B-A6C8-2F4E18B4DC16}"/>
              </a:ext>
            </a:extLst>
          </p:cNvPr>
          <p:cNvGrpSpPr/>
          <p:nvPr/>
        </p:nvGrpSpPr>
        <p:grpSpPr>
          <a:xfrm>
            <a:off x="7568419" y="1259105"/>
            <a:ext cx="4355838" cy="461665"/>
            <a:chOff x="7568419" y="1259105"/>
            <a:chExt cx="4355838" cy="461665"/>
          </a:xfrm>
        </p:grpSpPr>
        <p:sp>
          <p:nvSpPr>
            <p:cNvPr id="56" name="TextBox 55">
              <a:extLst>
                <a:ext uri="{FF2B5EF4-FFF2-40B4-BE49-F238E27FC236}">
                  <a16:creationId xmlns:a16="http://schemas.microsoft.com/office/drawing/2014/main" id="{BC7D116A-0032-421C-AE41-5A837358055C}"/>
                </a:ext>
              </a:extLst>
            </p:cNvPr>
            <p:cNvSpPr txBox="1"/>
            <p:nvPr/>
          </p:nvSpPr>
          <p:spPr>
            <a:xfrm>
              <a:off x="8250175" y="1259105"/>
              <a:ext cx="3674082"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Deliver services and conduct continuous process improvement</a:t>
              </a:r>
            </a:p>
          </p:txBody>
        </p:sp>
        <p:pic>
          <p:nvPicPr>
            <p:cNvPr id="81" name="Picture 80">
              <a:extLst>
                <a:ext uri="{FF2B5EF4-FFF2-40B4-BE49-F238E27FC236}">
                  <a16:creationId xmlns:a16="http://schemas.microsoft.com/office/drawing/2014/main" id="{510A84A9-B73B-43B3-AE84-51B7CF7F5C69}"/>
                </a:ext>
              </a:extLst>
            </p:cNvPr>
            <p:cNvPicPr>
              <a:picLocks noChangeAspect="1"/>
            </p:cNvPicPr>
            <p:nvPr/>
          </p:nvPicPr>
          <p:blipFill>
            <a:blip r:embed="rId6"/>
            <a:stretch>
              <a:fillRect/>
            </a:stretch>
          </p:blipFill>
          <p:spPr>
            <a:xfrm>
              <a:off x="7568419" y="1310990"/>
              <a:ext cx="308187" cy="357895"/>
            </a:xfrm>
            <a:prstGeom prst="rect">
              <a:avLst/>
            </a:prstGeom>
          </p:spPr>
        </p:pic>
      </p:grpSp>
      <p:grpSp>
        <p:nvGrpSpPr>
          <p:cNvPr id="9" name="Group 8">
            <a:extLst>
              <a:ext uri="{FF2B5EF4-FFF2-40B4-BE49-F238E27FC236}">
                <a16:creationId xmlns:a16="http://schemas.microsoft.com/office/drawing/2014/main" id="{5CC1597D-9153-4D15-80CF-75E3F854DFAA}"/>
              </a:ext>
            </a:extLst>
          </p:cNvPr>
          <p:cNvGrpSpPr/>
          <p:nvPr/>
        </p:nvGrpSpPr>
        <p:grpSpPr>
          <a:xfrm>
            <a:off x="7568419" y="2527483"/>
            <a:ext cx="4355839" cy="461665"/>
            <a:chOff x="7568419" y="2501684"/>
            <a:chExt cx="4355839" cy="461665"/>
          </a:xfrm>
        </p:grpSpPr>
        <p:sp>
          <p:nvSpPr>
            <p:cNvPr id="59" name="TextBox 58">
              <a:extLst>
                <a:ext uri="{FF2B5EF4-FFF2-40B4-BE49-F238E27FC236}">
                  <a16:creationId xmlns:a16="http://schemas.microsoft.com/office/drawing/2014/main" id="{1F2E960D-7048-4A69-A7E2-9F6C5265BB3B}"/>
                </a:ext>
              </a:extLst>
            </p:cNvPr>
            <p:cNvSpPr txBox="1"/>
            <p:nvPr/>
          </p:nvSpPr>
          <p:spPr>
            <a:xfrm>
              <a:off x="8250174" y="2501684"/>
              <a:ext cx="3674084" cy="461665"/>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Implement O&amp;M governance structures to manage and oversee performance after Go-Live</a:t>
              </a:r>
            </a:p>
          </p:txBody>
        </p:sp>
        <p:pic>
          <p:nvPicPr>
            <p:cNvPr id="82" name="Picture 81">
              <a:extLst>
                <a:ext uri="{FF2B5EF4-FFF2-40B4-BE49-F238E27FC236}">
                  <a16:creationId xmlns:a16="http://schemas.microsoft.com/office/drawing/2014/main" id="{20405A60-0A76-4015-B451-B6F61AE51AA2}"/>
                </a:ext>
              </a:extLst>
            </p:cNvPr>
            <p:cNvPicPr>
              <a:picLocks noChangeAspect="1"/>
            </p:cNvPicPr>
            <p:nvPr/>
          </p:nvPicPr>
          <p:blipFill>
            <a:blip r:embed="rId6"/>
            <a:stretch>
              <a:fillRect/>
            </a:stretch>
          </p:blipFill>
          <p:spPr>
            <a:xfrm>
              <a:off x="7568419" y="2553569"/>
              <a:ext cx="308187" cy="357895"/>
            </a:xfrm>
            <a:prstGeom prst="rect">
              <a:avLst/>
            </a:prstGeom>
          </p:spPr>
        </p:pic>
      </p:grpSp>
      <p:grpSp>
        <p:nvGrpSpPr>
          <p:cNvPr id="13" name="Group 12">
            <a:extLst>
              <a:ext uri="{FF2B5EF4-FFF2-40B4-BE49-F238E27FC236}">
                <a16:creationId xmlns:a16="http://schemas.microsoft.com/office/drawing/2014/main" id="{EDB60B29-E877-4448-82F9-1A1596B18AA8}"/>
              </a:ext>
            </a:extLst>
          </p:cNvPr>
          <p:cNvGrpSpPr/>
          <p:nvPr/>
        </p:nvGrpSpPr>
        <p:grpSpPr>
          <a:xfrm>
            <a:off x="7462594" y="4522385"/>
            <a:ext cx="4461663" cy="646331"/>
            <a:chOff x="7462594" y="4943009"/>
            <a:chExt cx="4461663" cy="646331"/>
          </a:xfrm>
        </p:grpSpPr>
        <p:sp>
          <p:nvSpPr>
            <p:cNvPr id="67" name="TextBox 66">
              <a:extLst>
                <a:ext uri="{FF2B5EF4-FFF2-40B4-BE49-F238E27FC236}">
                  <a16:creationId xmlns:a16="http://schemas.microsoft.com/office/drawing/2014/main" id="{2149BC9A-D804-4612-9FD6-1DED41CE0EE5}"/>
                </a:ext>
              </a:extLst>
            </p:cNvPr>
            <p:cNvSpPr txBox="1"/>
            <p:nvPr/>
          </p:nvSpPr>
          <p:spPr>
            <a:xfrm>
              <a:off x="8250174" y="4943009"/>
              <a:ext cx="3674083" cy="646331"/>
            </a:xfrm>
            <a:prstGeom prst="rect">
              <a:avLst/>
            </a:prstGeom>
            <a:noFill/>
          </p:spPr>
          <p:txBody>
            <a:bodyPr wrap="square" rtlCol="0">
              <a:spAutoFit/>
            </a:bodyPr>
            <a:lstStyle/>
            <a:p>
              <a:pPr lvl="0">
                <a:spcBef>
                  <a:spcPts val="1000"/>
                </a:spcBef>
                <a:buClr>
                  <a:srgbClr val="FFFFFF"/>
                </a:buClr>
                <a:defRPr/>
              </a:pPr>
              <a:r>
                <a:rPr lang="en-US" sz="1200" kern="1200">
                  <a:solidFill>
                    <a:srgbClr val="FFFFFF"/>
                  </a:solidFill>
                </a:rPr>
                <a:t>Monitor operational performance to address system and user’s concerns and implement process improvement opportunities</a:t>
              </a:r>
            </a:p>
          </p:txBody>
        </p:sp>
        <p:pic>
          <p:nvPicPr>
            <p:cNvPr id="83" name="Picture 82">
              <a:extLst>
                <a:ext uri="{FF2B5EF4-FFF2-40B4-BE49-F238E27FC236}">
                  <a16:creationId xmlns:a16="http://schemas.microsoft.com/office/drawing/2014/main" id="{24A715D9-D607-4919-9624-C3C7D7824F6A}"/>
                </a:ext>
              </a:extLst>
            </p:cNvPr>
            <p:cNvPicPr>
              <a:picLocks noChangeAspect="1"/>
            </p:cNvPicPr>
            <p:nvPr/>
          </p:nvPicPr>
          <p:blipFill>
            <a:blip r:embed="rId8"/>
            <a:stretch>
              <a:fillRect/>
            </a:stretch>
          </p:blipFill>
          <p:spPr>
            <a:xfrm>
              <a:off x="7462594" y="5082702"/>
              <a:ext cx="519837" cy="366944"/>
            </a:xfrm>
            <a:prstGeom prst="rect">
              <a:avLst/>
            </a:prstGeom>
          </p:spPr>
        </p:pic>
      </p:grpSp>
      <p:grpSp>
        <p:nvGrpSpPr>
          <p:cNvPr id="11" name="Group 10">
            <a:extLst>
              <a:ext uri="{FF2B5EF4-FFF2-40B4-BE49-F238E27FC236}">
                <a16:creationId xmlns:a16="http://schemas.microsoft.com/office/drawing/2014/main" id="{CDA67428-8F14-4483-B638-F17EEE2E0F95}"/>
              </a:ext>
            </a:extLst>
          </p:cNvPr>
          <p:cNvGrpSpPr/>
          <p:nvPr/>
        </p:nvGrpSpPr>
        <p:grpSpPr>
          <a:xfrm>
            <a:off x="7544327" y="3795861"/>
            <a:ext cx="4249982" cy="646331"/>
            <a:chOff x="7544327" y="4077808"/>
            <a:chExt cx="4249982" cy="646331"/>
          </a:xfrm>
        </p:grpSpPr>
        <p:sp>
          <p:nvSpPr>
            <p:cNvPr id="84" name="TextBox 83">
              <a:extLst>
                <a:ext uri="{FF2B5EF4-FFF2-40B4-BE49-F238E27FC236}">
                  <a16:creationId xmlns:a16="http://schemas.microsoft.com/office/drawing/2014/main" id="{166CD2FC-F4C0-4A40-8FCB-1FD379EE7ACB}"/>
                </a:ext>
              </a:extLst>
            </p:cNvPr>
            <p:cNvSpPr txBox="1"/>
            <p:nvPr/>
          </p:nvSpPr>
          <p:spPr>
            <a:xfrm>
              <a:off x="8209996" y="4077808"/>
              <a:ext cx="3584313" cy="646331"/>
            </a:xfrm>
            <a:prstGeom prst="rect">
              <a:avLst/>
            </a:prstGeom>
            <a:noFill/>
          </p:spPr>
          <p:txBody>
            <a:bodyPr wrap="square" rtlCol="0">
              <a:spAutoFit/>
            </a:bodyPr>
            <a:lstStyle/>
            <a:p>
              <a:pPr lvl="0">
                <a:spcBef>
                  <a:spcPts val="1000"/>
                </a:spcBef>
                <a:buClr>
                  <a:srgbClr val="FFFFFF"/>
                </a:buClr>
                <a:defRPr/>
              </a:pPr>
              <a:r>
                <a:rPr lang="en-US" sz="1200" kern="1200" dirty="0">
                  <a:solidFill>
                    <a:srgbClr val="FFFFFF"/>
                  </a:solidFill>
                </a:rPr>
                <a:t>Retire legacy systems including hardware, software, licenses, interface, and close out support contracts</a:t>
              </a:r>
            </a:p>
          </p:txBody>
        </p:sp>
        <p:pic>
          <p:nvPicPr>
            <p:cNvPr id="85" name="Picture 84">
              <a:extLst>
                <a:ext uri="{FF2B5EF4-FFF2-40B4-BE49-F238E27FC236}">
                  <a16:creationId xmlns:a16="http://schemas.microsoft.com/office/drawing/2014/main" id="{D2C601F9-6AA7-48F5-973C-67ED5874EF0B}"/>
                </a:ext>
              </a:extLst>
            </p:cNvPr>
            <p:cNvPicPr>
              <a:picLocks noChangeAspect="1"/>
            </p:cNvPicPr>
            <p:nvPr/>
          </p:nvPicPr>
          <p:blipFill>
            <a:blip r:embed="rId9"/>
            <a:stretch>
              <a:fillRect/>
            </a:stretch>
          </p:blipFill>
          <p:spPr>
            <a:xfrm>
              <a:off x="7544327" y="4222788"/>
              <a:ext cx="356370" cy="356370"/>
            </a:xfrm>
            <a:prstGeom prst="rect">
              <a:avLst/>
            </a:prstGeom>
          </p:spPr>
        </p:pic>
      </p:grpSp>
    </p:spTree>
    <p:extLst>
      <p:ext uri="{BB962C8B-B14F-4D97-AF65-F5344CB8AC3E}">
        <p14:creationId xmlns:p14="http://schemas.microsoft.com/office/powerpoint/2010/main" val="33775373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35C43CE-9CD1-4DC0-9D0D-ACA989D2967C}"/>
              </a:ext>
            </a:extLst>
          </p:cNvPr>
          <p:cNvSpPr/>
          <p:nvPr/>
        </p:nvSpPr>
        <p:spPr>
          <a:xfrm>
            <a:off x="314960" y="6075389"/>
            <a:ext cx="1473200" cy="7218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23525718-EC03-4CD2-AEE3-AE7E23F372D4}"/>
              </a:ext>
            </a:extLst>
          </p:cNvPr>
          <p:cNvSpPr>
            <a:spLocks noGrp="1"/>
          </p:cNvSpPr>
          <p:nvPr>
            <p:ph type="sldNum" idx="10"/>
          </p:nvPr>
        </p:nvSpPr>
        <p:spPr>
          <a:xfrm>
            <a:off x="10865368" y="6283394"/>
            <a:ext cx="731600" cy="524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rgbClr val="005087"/>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lang="en" sz="1200" b="1" i="0" u="none" strike="noStrike" kern="0" cap="none" spc="0" normalizeH="0" baseline="0" noProof="0">
              <a:ln>
                <a:noFill/>
              </a:ln>
              <a:solidFill>
                <a:srgbClr val="005087"/>
              </a:solidFill>
              <a:effectLst/>
              <a:uLnTx/>
              <a:uFillTx/>
              <a:latin typeface="Arial"/>
              <a:ea typeface="+mn-ea"/>
              <a:cs typeface="Arial"/>
              <a:sym typeface="Arial"/>
            </a:endParaRPr>
          </a:p>
        </p:txBody>
      </p:sp>
      <p:sp>
        <p:nvSpPr>
          <p:cNvPr id="3" name="Footer Placeholder 2">
            <a:extLst>
              <a:ext uri="{FF2B5EF4-FFF2-40B4-BE49-F238E27FC236}">
                <a16:creationId xmlns:a16="http://schemas.microsoft.com/office/drawing/2014/main" id="{B0D6D72E-5619-4C69-B517-C38B8A294F18}"/>
              </a:ext>
            </a:extLst>
          </p:cNvPr>
          <p:cNvSpPr>
            <a:spLocks noGrp="1"/>
          </p:cNvSpPr>
          <p:nvPr>
            <p:ph type="ftr" sz="quarter" idx="11"/>
          </p:nvPr>
        </p:nvSpPr>
        <p:spPr/>
        <p:txBody>
          <a:bodyPr/>
          <a:lstStyle/>
          <a:p>
            <a:pPr lvl="0">
              <a:defRPr/>
            </a:pPr>
            <a:r>
              <a:rPr lang="en-US"/>
              <a:t>M3 Playbook Orientation</a:t>
            </a:r>
          </a:p>
        </p:txBody>
      </p:sp>
      <p:sp>
        <p:nvSpPr>
          <p:cNvPr id="5" name="Title 4">
            <a:extLst>
              <a:ext uri="{FF2B5EF4-FFF2-40B4-BE49-F238E27FC236}">
                <a16:creationId xmlns:a16="http://schemas.microsoft.com/office/drawing/2014/main" id="{C6819CC0-F7DD-4DF3-9C2B-10A227F3C4AC}"/>
              </a:ext>
            </a:extLst>
          </p:cNvPr>
          <p:cNvSpPr>
            <a:spLocks noGrp="1"/>
          </p:cNvSpPr>
          <p:nvPr>
            <p:ph type="title"/>
          </p:nvPr>
        </p:nvSpPr>
        <p:spPr/>
        <p:txBody>
          <a:bodyPr/>
          <a:lstStyle/>
          <a:p>
            <a:r>
              <a:rPr lang="en-US"/>
              <a:t>Benefits to M3 Playbook Users </a:t>
            </a:r>
          </a:p>
        </p:txBody>
      </p:sp>
      <p:sp>
        <p:nvSpPr>
          <p:cNvPr id="12" name="Body text copy">
            <a:extLst>
              <a:ext uri="{FF2B5EF4-FFF2-40B4-BE49-F238E27FC236}">
                <a16:creationId xmlns:a16="http://schemas.microsoft.com/office/drawing/2014/main" id="{BBE85AC1-0579-4BBE-900B-A76C60C6C979}"/>
              </a:ext>
            </a:extLst>
          </p:cNvPr>
          <p:cNvSpPr/>
          <p:nvPr/>
        </p:nvSpPr>
        <p:spPr>
          <a:xfrm>
            <a:off x="2097948" y="2750806"/>
            <a:ext cx="3248820" cy="606922"/>
          </a:xfrm>
          <a:prstGeom prst="rect">
            <a:avLst/>
          </a:prstGeom>
        </p:spPr>
        <p:txBody>
          <a:bodyPr spcFirstLastPara="0" lIns="89253" tIns="89253" rIns="89253" bIns="0" anchor="t"/>
          <a:lstStyle/>
          <a:p>
            <a:pPr marL="0" marR="0" lvl="0" indent="0" algn="l" defTabSz="856793" rtl="0" eaLnBrk="1" fontAlgn="auto" latinLnBrk="0" hangingPunct="0">
              <a:lnSpc>
                <a:spcPct val="100000"/>
              </a:lnSpc>
              <a:spcBef>
                <a:spcPts val="0"/>
              </a:spcBef>
              <a:spcAft>
                <a:spcPts val="0"/>
              </a:spcAft>
              <a:buClrTx/>
              <a:buSzTx/>
              <a:buFont typeface="Arial"/>
              <a:buNone/>
              <a:tabLst/>
              <a:defRPr/>
            </a:pPr>
            <a:endParaRPr kumimoji="0" sz="2811" b="0" i="0" u="none" strike="noStrike" kern="1200" cap="none" spc="0" normalizeH="0" baseline="0" noProof="0">
              <a:ln>
                <a:noFill/>
              </a:ln>
              <a:solidFill>
                <a:srgbClr val="121212"/>
              </a:solidFill>
              <a:effectLst/>
              <a:uLnTx/>
              <a:uFillTx/>
              <a:latin typeface="Bentham"/>
              <a:ea typeface="+mn-ea"/>
              <a:cs typeface="Bentham"/>
              <a:sym typeface="Arial"/>
            </a:endParaRPr>
          </a:p>
        </p:txBody>
      </p:sp>
      <p:sp>
        <p:nvSpPr>
          <p:cNvPr id="13" name="Body text copy">
            <a:extLst>
              <a:ext uri="{FF2B5EF4-FFF2-40B4-BE49-F238E27FC236}">
                <a16:creationId xmlns:a16="http://schemas.microsoft.com/office/drawing/2014/main" id="{3C5B89CE-71D4-4F29-B3AF-6CF9F72967AC}"/>
              </a:ext>
            </a:extLst>
          </p:cNvPr>
          <p:cNvSpPr/>
          <p:nvPr/>
        </p:nvSpPr>
        <p:spPr>
          <a:xfrm>
            <a:off x="1580279" y="3723667"/>
            <a:ext cx="3195268" cy="1133517"/>
          </a:xfrm>
          <a:prstGeom prst="rect">
            <a:avLst/>
          </a:prstGeom>
        </p:spPr>
        <p:txBody>
          <a:bodyPr spcFirstLastPara="0" lIns="89253" tIns="89253" rIns="89253" bIns="0" anchor="t"/>
          <a:lstStyle/>
          <a:p>
            <a:pPr marL="0" marR="0" lvl="0" indent="0" algn="l" defTabSz="856793" rtl="0" eaLnBrk="1" fontAlgn="auto" latinLnBrk="0" hangingPunct="0">
              <a:lnSpc>
                <a:spcPct val="125000"/>
              </a:lnSpc>
              <a:spcBef>
                <a:spcPts val="0"/>
              </a:spcBef>
              <a:spcAft>
                <a:spcPts val="0"/>
              </a:spcAft>
              <a:buClrTx/>
              <a:buSzTx/>
              <a:buFont typeface="Arial"/>
              <a:buNone/>
              <a:tabLst/>
              <a:defRPr/>
            </a:pPr>
            <a:endParaRPr kumimoji="0" sz="1265" b="0" i="0" u="none" strike="noStrike" kern="1200" cap="none" spc="0" normalizeH="0" baseline="0" noProof="0">
              <a:ln>
                <a:noFill/>
              </a:ln>
              <a:solidFill>
                <a:srgbClr val="292929"/>
              </a:solidFill>
              <a:effectLst/>
              <a:uLnTx/>
              <a:uFillTx/>
              <a:latin typeface="Abel"/>
              <a:ea typeface="+mn-ea"/>
              <a:cs typeface="Abel"/>
              <a:sym typeface="Arial"/>
            </a:endParaRPr>
          </a:p>
        </p:txBody>
      </p:sp>
      <p:pic>
        <p:nvPicPr>
          <p:cNvPr id="18" name="Picture 17">
            <a:extLst>
              <a:ext uri="{FF2B5EF4-FFF2-40B4-BE49-F238E27FC236}">
                <a16:creationId xmlns:a16="http://schemas.microsoft.com/office/drawing/2014/main" id="{78176B61-9AC5-4020-960C-935B3D1B1525}"/>
              </a:ext>
            </a:extLst>
          </p:cNvPr>
          <p:cNvPicPr>
            <a:picLocks noChangeAspect="1"/>
          </p:cNvPicPr>
          <p:nvPr/>
        </p:nvPicPr>
        <p:blipFill>
          <a:blip r:embed="rId3"/>
          <a:stretch>
            <a:fillRect/>
          </a:stretch>
        </p:blipFill>
        <p:spPr>
          <a:xfrm>
            <a:off x="0" y="1826888"/>
            <a:ext cx="12192000" cy="4604391"/>
          </a:xfrm>
          <a:prstGeom prst="rect">
            <a:avLst/>
          </a:prstGeom>
        </p:spPr>
      </p:pic>
      <p:grpSp>
        <p:nvGrpSpPr>
          <p:cNvPr id="6" name="Group 5">
            <a:extLst>
              <a:ext uri="{FF2B5EF4-FFF2-40B4-BE49-F238E27FC236}">
                <a16:creationId xmlns:a16="http://schemas.microsoft.com/office/drawing/2014/main" id="{643FD982-55E3-4941-A21B-B550376E59D7}"/>
              </a:ext>
            </a:extLst>
          </p:cNvPr>
          <p:cNvGrpSpPr/>
          <p:nvPr/>
        </p:nvGrpSpPr>
        <p:grpSpPr>
          <a:xfrm>
            <a:off x="6953534" y="1997736"/>
            <a:ext cx="4623114" cy="3757560"/>
            <a:chOff x="6221450" y="1849348"/>
            <a:chExt cx="5355198" cy="4649534"/>
          </a:xfrm>
        </p:grpSpPr>
        <p:pic>
          <p:nvPicPr>
            <p:cNvPr id="14" name="87_Device_iMac6.png">
              <a:extLst>
                <a:ext uri="{FF2B5EF4-FFF2-40B4-BE49-F238E27FC236}">
                  <a16:creationId xmlns:a16="http://schemas.microsoft.com/office/drawing/2014/main" id="{F9CBC86B-F1F0-4CF6-96C1-A84E39B14C1C}"/>
                </a:ext>
              </a:extLst>
            </p:cNvPr>
            <p:cNvPicPr/>
            <p:nvPr/>
          </p:nvPicPr>
          <p:blipFill rotWithShape="1">
            <a:blip r:embed="rId4"/>
            <a:stretch>
              <a:fillRect/>
            </a:stretch>
          </p:blipFill>
          <p:spPr>
            <a:xfrm>
              <a:off x="6221450" y="1849348"/>
              <a:ext cx="5355198" cy="4649534"/>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D865A70F-39DA-46D2-8FFC-828A43FEF96F}"/>
                </a:ext>
              </a:extLst>
            </p:cNvPr>
            <p:cNvPicPr>
              <a:picLocks noChangeAspect="1"/>
            </p:cNvPicPr>
            <p:nvPr/>
          </p:nvPicPr>
          <p:blipFill rotWithShape="1">
            <a:blip r:embed="rId5">
              <a:extLst>
                <a:ext uri="{28A0092B-C50C-407E-A947-70E740481C1C}">
                  <a14:useLocalDpi xmlns:a14="http://schemas.microsoft.com/office/drawing/2010/main" val="0"/>
                </a:ext>
              </a:extLst>
            </a:blip>
            <a:srcRect l="4120" r="8348"/>
            <a:stretch/>
          </p:blipFill>
          <p:spPr>
            <a:xfrm>
              <a:off x="6538299" y="2307013"/>
              <a:ext cx="4721499" cy="2833307"/>
            </a:xfrm>
            <a:prstGeom prst="rect">
              <a:avLst/>
            </a:prstGeom>
          </p:spPr>
        </p:pic>
      </p:grpSp>
      <p:sp>
        <p:nvSpPr>
          <p:cNvPr id="19" name="Text Placeholder 7">
            <a:extLst>
              <a:ext uri="{FF2B5EF4-FFF2-40B4-BE49-F238E27FC236}">
                <a16:creationId xmlns:a16="http://schemas.microsoft.com/office/drawing/2014/main" id="{49AEF1E8-ED54-4F08-9B50-76404A038143}"/>
              </a:ext>
            </a:extLst>
          </p:cNvPr>
          <p:cNvSpPr txBox="1">
            <a:spLocks/>
          </p:cNvSpPr>
          <p:nvPr/>
        </p:nvSpPr>
        <p:spPr>
          <a:xfrm>
            <a:off x="627384" y="1102704"/>
            <a:ext cx="11552236" cy="647507"/>
          </a:xfrm>
          <a:prstGeom prst="rect">
            <a:avLst/>
          </a:prstGeom>
        </p:spPr>
        <p:txBody>
          <a:bodyPr vert="horz" lIns="91440" tIns="45720" rIns="91440" bIns="45720" rtlCol="0">
            <a:norm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a:pPr>
            <a:r>
              <a:rPr kumimoji="0" lang="en-US" sz="1600" b="0" i="0" u="none" strike="noStrike" kern="0" cap="none" spc="0" normalizeH="0" baseline="0" noProof="0" dirty="0">
                <a:ln>
                  <a:noFill/>
                </a:ln>
                <a:solidFill>
                  <a:srgbClr val="005087"/>
                </a:solidFill>
                <a:effectLst/>
                <a:uLnTx/>
                <a:uFillTx/>
                <a:latin typeface="Arial"/>
                <a:cs typeface="Arial"/>
                <a:sym typeface="Arial"/>
              </a:rPr>
              <a:t>The M3 Playbook provides value to the broader Federal Shared Services community and stakeholder groups government-wide – an overview of the key benefits are included below:</a:t>
            </a:r>
          </a:p>
        </p:txBody>
      </p:sp>
      <p:sp>
        <p:nvSpPr>
          <p:cNvPr id="17" name="TextBox 16">
            <a:extLst>
              <a:ext uri="{FF2B5EF4-FFF2-40B4-BE49-F238E27FC236}">
                <a16:creationId xmlns:a16="http://schemas.microsoft.com/office/drawing/2014/main" id="{E3438E9E-6B3C-494A-8984-FED2A6339C03}"/>
              </a:ext>
            </a:extLst>
          </p:cNvPr>
          <p:cNvSpPr txBox="1"/>
          <p:nvPr/>
        </p:nvSpPr>
        <p:spPr>
          <a:xfrm>
            <a:off x="2721429" y="5209161"/>
            <a:ext cx="462311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a:sym typeface="Arial"/>
              </a:rPr>
              <a:t>Bottom line: gain efficiencies,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dirty="0">
                <a:solidFill>
                  <a:srgbClr val="FFFFFF"/>
                </a:solidFill>
                <a:ea typeface="+mn-ea"/>
              </a:rPr>
              <a:t>reduce risk, minimize</a:t>
            </a:r>
            <a:r>
              <a:rPr kumimoji="0" lang="en-US" sz="1600" b="1" i="0" u="none" strike="noStrike" kern="0" cap="none" spc="0" normalizeH="0" baseline="0" noProof="0" dirty="0">
                <a:ln>
                  <a:noFill/>
                </a:ln>
                <a:solidFill>
                  <a:srgbClr val="FFFFFF"/>
                </a:solidFill>
                <a:effectLst/>
                <a:uLnTx/>
                <a:uFillTx/>
                <a:latin typeface="Arial"/>
                <a:ea typeface="+mn-ea"/>
                <a:cs typeface="Arial"/>
                <a:sym typeface="Arial"/>
              </a:rPr>
              <a:t> implementation time, and ultimately improve results!</a:t>
            </a:r>
          </a:p>
        </p:txBody>
      </p:sp>
      <p:sp>
        <p:nvSpPr>
          <p:cNvPr id="22" name="TextBox 21">
            <a:extLst>
              <a:ext uri="{FF2B5EF4-FFF2-40B4-BE49-F238E27FC236}">
                <a16:creationId xmlns:a16="http://schemas.microsoft.com/office/drawing/2014/main" id="{B79C942C-B2A1-49E1-B7A4-65BC863A40DC}"/>
              </a:ext>
            </a:extLst>
          </p:cNvPr>
          <p:cNvSpPr txBox="1"/>
          <p:nvPr/>
        </p:nvSpPr>
        <p:spPr>
          <a:xfrm>
            <a:off x="1051560" y="2136099"/>
            <a:ext cx="5572279" cy="298543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sym typeface="Arial"/>
              </a:rPr>
              <a:t>Consistency in approach</a:t>
            </a:r>
          </a:p>
          <a:p>
            <a:pPr marL="285750" lvl="0" indent="-285750">
              <a:spcBef>
                <a:spcPts val="1200"/>
              </a:spcBef>
              <a:buClrTx/>
              <a:buFont typeface="Arial" panose="020B0604020202020204" pitchFamily="34" charset="0"/>
              <a:buChar char="►"/>
              <a:defRPr/>
            </a:pPr>
            <a:r>
              <a:rPr lang="en-US" sz="1600" dirty="0">
                <a:solidFill>
                  <a:srgbClr val="FFFFFF"/>
                </a:solidFill>
                <a:ea typeface="+mn-ea"/>
              </a:rPr>
              <a:t>Straight-forward roadmap</a:t>
            </a:r>
            <a:endParaRPr kumimoji="0" lang="en-US" sz="1600" b="0" i="0" u="none" strike="noStrike" kern="0" cap="none" spc="0" normalizeH="0" baseline="0" noProof="0" dirty="0">
              <a:ln>
                <a:noFill/>
              </a:ln>
              <a:solidFill>
                <a:srgbClr val="FFFFFF"/>
              </a:solidFill>
              <a:effectLst/>
              <a:uLnTx/>
              <a:uFillTx/>
              <a:latin typeface="Arial"/>
              <a:ea typeface="+mn-ea"/>
              <a:cs typeface="Arial"/>
              <a:sym typeface="Arial"/>
            </a:endParaRPr>
          </a:p>
          <a:p>
            <a:pPr marL="285750" indent="-285750">
              <a:spcBef>
                <a:spcPts val="1200"/>
              </a:spcBef>
              <a:buClrTx/>
              <a:buFont typeface="Arial" panose="020B0604020202020204" pitchFamily="34" charset="0"/>
              <a:buChar char="►"/>
              <a:defRPr/>
            </a:pPr>
            <a:r>
              <a:rPr lang="en-US" sz="1600" dirty="0">
                <a:solidFill>
                  <a:srgbClr val="FFFFFF"/>
                </a:solidFill>
              </a:rPr>
              <a:t>Easily accessible guidance information</a:t>
            </a:r>
          </a:p>
          <a:p>
            <a:pPr marL="285750" indent="-285750">
              <a:spcBef>
                <a:spcPts val="1200"/>
              </a:spcBef>
              <a:buClrTx/>
              <a:buFont typeface="Arial" panose="020B0604020202020204" pitchFamily="34" charset="0"/>
              <a:buChar char="►"/>
              <a:defRPr/>
            </a:pPr>
            <a:r>
              <a:rPr lang="en-US" sz="1600" dirty="0">
                <a:solidFill>
                  <a:srgbClr val="FFFFFF"/>
                </a:solidFill>
                <a:ea typeface="+mn-ea"/>
              </a:rPr>
              <a:t>Standardized templates and documentation</a:t>
            </a:r>
            <a:endParaRPr kumimoji="0" lang="en-US" sz="1600" b="0" i="0" u="none" strike="noStrike" kern="0" cap="none" spc="0" normalizeH="0" baseline="0" noProof="0" dirty="0">
              <a:ln>
                <a:noFill/>
              </a:ln>
              <a:solidFill>
                <a:srgbClr val="FFFFFF"/>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sym typeface="Arial"/>
              </a:rPr>
              <a:t>Leverages lessons learned and best practic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sym typeface="Arial"/>
              </a:rPr>
              <a:t>Recommended by OMB and GAO</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srgbClr val="FFFFFF"/>
                </a:solidFill>
                <a:ea typeface="+mn-ea"/>
              </a:rPr>
              <a:t>Promotes consistency in project reporting using a common language</a:t>
            </a:r>
            <a:endParaRPr kumimoji="0" lang="en-US" sz="1600" b="0" i="0"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16" name="TextBox 15">
            <a:extLst>
              <a:ext uri="{FF2B5EF4-FFF2-40B4-BE49-F238E27FC236}">
                <a16:creationId xmlns:a16="http://schemas.microsoft.com/office/drawing/2014/main" id="{032A9D57-464C-45C9-8F79-4E2BB06C42BE}"/>
              </a:ext>
            </a:extLst>
          </p:cNvPr>
          <p:cNvSpPr txBox="1"/>
          <p:nvPr/>
        </p:nvSpPr>
        <p:spPr>
          <a:xfrm>
            <a:off x="3733800" y="6527812"/>
            <a:ext cx="4724400" cy="261610"/>
          </a:xfrm>
          <a:prstGeom prst="rect">
            <a:avLst/>
          </a:prstGeom>
          <a:noFill/>
        </p:spPr>
        <p:txBody>
          <a:bodyPr wrap="square" rtlCol="0">
            <a:spAutoFit/>
          </a:bodyPr>
          <a:lstStyle/>
          <a:p>
            <a:pPr algn="ctr"/>
            <a:r>
              <a:rPr lang="en-US" sz="1100" i="1" dirty="0">
                <a:solidFill>
                  <a:schemeClr val="tx1"/>
                </a:solidFill>
              </a:rPr>
              <a:t>- Last published June 2022 -</a:t>
            </a:r>
          </a:p>
        </p:txBody>
      </p:sp>
    </p:spTree>
    <p:extLst>
      <p:ext uri="{BB962C8B-B14F-4D97-AF65-F5344CB8AC3E}">
        <p14:creationId xmlns:p14="http://schemas.microsoft.com/office/powerpoint/2010/main" val="23265261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F0312050-B9CC-41CB-B998-3FDCE010B355}"/>
              </a:ext>
            </a:extLst>
          </p:cNvPr>
          <p:cNvGrpSpPr/>
          <p:nvPr/>
        </p:nvGrpSpPr>
        <p:grpSpPr>
          <a:xfrm>
            <a:off x="0" y="4536141"/>
            <a:ext cx="12192000" cy="2321860"/>
            <a:chOff x="1426029" y="1850572"/>
            <a:chExt cx="6193971" cy="4093030"/>
          </a:xfrm>
        </p:grpSpPr>
        <p:sp>
          <p:nvSpPr>
            <p:cNvPr id="23" name="Freeform: Shape 22">
              <a:extLst>
                <a:ext uri="{FF2B5EF4-FFF2-40B4-BE49-F238E27FC236}">
                  <a16:creationId xmlns:a16="http://schemas.microsoft.com/office/drawing/2014/main" id="{A766CF74-CB3B-4206-B219-63BBABCD5B2B}"/>
                </a:ext>
              </a:extLst>
            </p:cNvPr>
            <p:cNvSpPr/>
            <p:nvPr/>
          </p:nvSpPr>
          <p:spPr>
            <a:xfrm rot="5400000" flipH="1">
              <a:off x="2476500" y="800102"/>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4" name="Picture 23">
              <a:extLst>
                <a:ext uri="{FF2B5EF4-FFF2-40B4-BE49-F238E27FC236}">
                  <a16:creationId xmlns:a16="http://schemas.microsoft.com/office/drawing/2014/main" id="{6AF73BF1-B5AE-42C9-961F-4682E6773FEF}"/>
                </a:ext>
              </a:extLst>
            </p:cNvPr>
            <p:cNvPicPr>
              <a:picLocks noChangeAspect="1"/>
            </p:cNvPicPr>
            <p:nvPr/>
          </p:nvPicPr>
          <p:blipFill>
            <a:blip r:embed="rId2"/>
            <a:srcRect l="41956" t="30520" r="18072" b="13003"/>
            <a:stretch>
              <a:fillRect/>
            </a:stretch>
          </p:blipFill>
          <p:spPr>
            <a:xfrm rot="5400000" flipH="1">
              <a:off x="2476500" y="800101"/>
              <a:ext cx="4093029" cy="6193971"/>
            </a:xfrm>
            <a:custGeom>
              <a:avLst/>
              <a:gdLst>
                <a:gd name="connsiteX0" fmla="*/ 4093029 w 4093029"/>
                <a:gd name="connsiteY0" fmla="*/ 6193971 h 6193971"/>
                <a:gd name="connsiteX1" fmla="*/ 4093029 w 4093029"/>
                <a:gd name="connsiteY1" fmla="*/ 0 h 6193971"/>
                <a:gd name="connsiteX2" fmla="*/ 0 w 4093029"/>
                <a:gd name="connsiteY2" fmla="*/ 0 h 6193971"/>
                <a:gd name="connsiteX3" fmla="*/ 0 w 4093029"/>
                <a:gd name="connsiteY3" fmla="*/ 6193971 h 6193971"/>
                <a:gd name="connsiteX4" fmla="*/ 4093029 w 4093029"/>
                <a:gd name="connsiteY4" fmla="*/ 6193971 h 619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3029" h="6193971">
                  <a:moveTo>
                    <a:pt x="4093029" y="6193971"/>
                  </a:moveTo>
                  <a:lnTo>
                    <a:pt x="4093029" y="0"/>
                  </a:lnTo>
                  <a:lnTo>
                    <a:pt x="0" y="0"/>
                  </a:lnTo>
                  <a:lnTo>
                    <a:pt x="0" y="6193971"/>
                  </a:lnTo>
                  <a:lnTo>
                    <a:pt x="4093029" y="6193971"/>
                  </a:lnTo>
                  <a:close/>
                </a:path>
              </a:pathLst>
            </a:custGeom>
          </p:spPr>
        </p:pic>
      </p:grpSp>
      <p:sp>
        <p:nvSpPr>
          <p:cNvPr id="17" name="Rectangle 16">
            <a:extLst>
              <a:ext uri="{FF2B5EF4-FFF2-40B4-BE49-F238E27FC236}">
                <a16:creationId xmlns:a16="http://schemas.microsoft.com/office/drawing/2014/main" id="{0920FE6D-AF24-4CE4-9DB9-CE4DA05660E7}"/>
              </a:ext>
            </a:extLst>
          </p:cNvPr>
          <p:cNvSpPr/>
          <p:nvPr/>
        </p:nvSpPr>
        <p:spPr>
          <a:xfrm>
            <a:off x="480646" y="492369"/>
            <a:ext cx="11711354" cy="629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77C79C8-A16A-438F-B95C-146F0128FE6D}"/>
              </a:ext>
            </a:extLst>
          </p:cNvPr>
          <p:cNvSpPr>
            <a:spLocks noGrp="1"/>
          </p:cNvSpPr>
          <p:nvPr>
            <p:ph type="title"/>
          </p:nvPr>
        </p:nvSpPr>
        <p:spPr/>
        <p:txBody>
          <a:bodyPr/>
          <a:lstStyle/>
          <a:p>
            <a:r>
              <a:rPr lang="en-US"/>
              <a:t>Resource Materials</a:t>
            </a:r>
          </a:p>
        </p:txBody>
      </p:sp>
      <p:sp>
        <p:nvSpPr>
          <p:cNvPr id="4" name="Footer Placeholder 3">
            <a:extLst>
              <a:ext uri="{FF2B5EF4-FFF2-40B4-BE49-F238E27FC236}">
                <a16:creationId xmlns:a16="http://schemas.microsoft.com/office/drawing/2014/main" id="{7ED07EA5-6A22-42EA-BB33-AB7CF3E35D9C}"/>
              </a:ext>
            </a:extLst>
          </p:cNvPr>
          <p:cNvSpPr>
            <a:spLocks noGrp="1"/>
          </p:cNvSpPr>
          <p:nvPr>
            <p:ph type="ftr" sz="quarter" idx="21"/>
          </p:nvPr>
        </p:nvSpPr>
        <p:spPr/>
        <p:txBody>
          <a:bodyPr/>
          <a:lstStyle/>
          <a:p>
            <a:pPr lvl="0">
              <a:defRPr/>
            </a:pPr>
            <a:r>
              <a:rPr lang="en-US"/>
              <a:t>M3 Playbook Orientation</a:t>
            </a:r>
          </a:p>
        </p:txBody>
      </p:sp>
      <p:sp>
        <p:nvSpPr>
          <p:cNvPr id="5" name="Text Placeholder 4">
            <a:extLst>
              <a:ext uri="{FF2B5EF4-FFF2-40B4-BE49-F238E27FC236}">
                <a16:creationId xmlns:a16="http://schemas.microsoft.com/office/drawing/2014/main" id="{42AA1D58-7E29-4DDB-9A96-DD833A6C543F}"/>
              </a:ext>
            </a:extLst>
          </p:cNvPr>
          <p:cNvSpPr>
            <a:spLocks noGrp="1"/>
          </p:cNvSpPr>
          <p:nvPr>
            <p:ph type="body" sz="quarter" idx="22"/>
          </p:nvPr>
        </p:nvSpPr>
        <p:spPr>
          <a:xfrm>
            <a:off x="1301073" y="1587267"/>
            <a:ext cx="5007629" cy="2948874"/>
          </a:xfrm>
        </p:spPr>
        <p:txBody>
          <a:bodyPr>
            <a:normAutofit/>
          </a:bodyPr>
          <a:lstStyle/>
          <a:p>
            <a:pPr marL="285750" indent="-285750">
              <a:buFont typeface="Arial" panose="020B0604020202020204" pitchFamily="34" charset="0"/>
              <a:buChar char="•"/>
            </a:pPr>
            <a:endParaRPr lang="en-US" sz="1600">
              <a:hlinkClick r:id="rId3">
                <a:extLst>
                  <a:ext uri="{A12FA001-AC4F-418D-AE19-62706E023703}">
                    <ahyp:hlinkClr xmlns:ahyp="http://schemas.microsoft.com/office/drawing/2018/hyperlinkcolor" val="tx"/>
                  </a:ext>
                </a:extLst>
              </a:hlinkClick>
            </a:endParaRPr>
          </a:p>
          <a:p>
            <a:pPr>
              <a:buFont typeface="Arial" panose="020B0604020202020204" pitchFamily="34" charset="0"/>
              <a:buChar char="•"/>
            </a:pPr>
            <a:r>
              <a:rPr lang="en-US" sz="1600">
                <a:hlinkClick r:id="rId4">
                  <a:extLst>
                    <a:ext uri="{A12FA001-AC4F-418D-AE19-62706E023703}">
                      <ahyp:hlinkClr xmlns:ahyp="http://schemas.microsoft.com/office/drawing/2018/hyperlinkcolor" val="tx"/>
                    </a:ext>
                  </a:extLst>
                </a:hlinkClick>
              </a:rPr>
              <a:t>M3 Playbook Website</a:t>
            </a:r>
            <a:endParaRPr lang="en-US" sz="1600"/>
          </a:p>
          <a:p>
            <a:pPr>
              <a:buFont typeface="Arial" panose="020B0604020202020204" pitchFamily="34" charset="0"/>
              <a:buChar char="•"/>
            </a:pPr>
            <a:r>
              <a:rPr lang="en-US" sz="1600">
                <a:hlinkClick r:id="rId3">
                  <a:extLst>
                    <a:ext uri="{A12FA001-AC4F-418D-AE19-62706E023703}">
                      <ahyp:hlinkClr xmlns:ahyp="http://schemas.microsoft.com/office/drawing/2018/hyperlinkcolor" val="tx"/>
                    </a:ext>
                  </a:extLst>
                </a:hlinkClick>
              </a:rPr>
              <a:t>M3 Playbook Resources Tab </a:t>
            </a:r>
            <a:endParaRPr lang="en-US" sz="1600"/>
          </a:p>
          <a:p>
            <a:pPr>
              <a:buFont typeface="Arial" panose="020B0604020202020204" pitchFamily="34" charset="0"/>
              <a:buChar char="•"/>
            </a:pPr>
            <a:r>
              <a:rPr lang="en-US" sz="1600">
                <a:hlinkClick r:id="rId5">
                  <a:extLst>
                    <a:ext uri="{A12FA001-AC4F-418D-AE19-62706E023703}">
                      <ahyp:hlinkClr xmlns:ahyp="http://schemas.microsoft.com/office/drawing/2018/hyperlinkcolor" val="tx"/>
                    </a:ext>
                  </a:extLst>
                </a:hlinkClick>
              </a:rPr>
              <a:t>M3 Playbook Download (pdf)</a:t>
            </a:r>
            <a:endParaRPr lang="en-US" sz="1600"/>
          </a:p>
          <a:p>
            <a:pPr>
              <a:buFont typeface="Arial" panose="020B0604020202020204" pitchFamily="34" charset="0"/>
              <a:buChar char="•"/>
            </a:pPr>
            <a:r>
              <a:rPr lang="en-US" sz="1600">
                <a:hlinkClick r:id="rId6">
                  <a:extLst>
                    <a:ext uri="{A12FA001-AC4F-418D-AE19-62706E023703}">
                      <ahyp:hlinkClr xmlns:ahyp="http://schemas.microsoft.com/office/drawing/2018/hyperlinkcolor" val="tx"/>
                    </a:ext>
                  </a:extLst>
                </a:hlinkClick>
              </a:rPr>
              <a:t>OSSPI Website</a:t>
            </a:r>
            <a:endParaRPr lang="en-US" sz="1600"/>
          </a:p>
          <a:p>
            <a:pPr>
              <a:buFont typeface="Arial" panose="020B0604020202020204" pitchFamily="34" charset="0"/>
              <a:buChar char="•"/>
            </a:pPr>
            <a:r>
              <a:rPr lang="en-US" sz="1600">
                <a:hlinkClick r:id="rId7">
                  <a:extLst>
                    <a:ext uri="{A12FA001-AC4F-418D-AE19-62706E023703}">
                      <ahyp:hlinkClr xmlns:ahyp="http://schemas.microsoft.com/office/drawing/2018/hyperlinkcolor" val="tx"/>
                    </a:ext>
                  </a:extLst>
                </a:hlinkClick>
              </a:rPr>
              <a:t>QSMO Website</a:t>
            </a:r>
            <a:endParaRPr lang="en-US" sz="1600"/>
          </a:p>
        </p:txBody>
      </p:sp>
      <p:grpSp>
        <p:nvGrpSpPr>
          <p:cNvPr id="16" name="Group 15">
            <a:extLst>
              <a:ext uri="{FF2B5EF4-FFF2-40B4-BE49-F238E27FC236}">
                <a16:creationId xmlns:a16="http://schemas.microsoft.com/office/drawing/2014/main" id="{742105E5-A926-4DA2-A8C7-E2C2D3031D5B}"/>
              </a:ext>
            </a:extLst>
          </p:cNvPr>
          <p:cNvGrpSpPr/>
          <p:nvPr/>
        </p:nvGrpSpPr>
        <p:grpSpPr>
          <a:xfrm>
            <a:off x="5755246" y="266700"/>
            <a:ext cx="6196039" cy="6591300"/>
            <a:chOff x="5855021" y="390828"/>
            <a:chExt cx="6196039" cy="6591300"/>
          </a:xfrm>
        </p:grpSpPr>
        <p:pic>
          <p:nvPicPr>
            <p:cNvPr id="12" name="263_Device_iphone12.png copy">
              <a:extLst>
                <a:ext uri="{FF2B5EF4-FFF2-40B4-BE49-F238E27FC236}">
                  <a16:creationId xmlns:a16="http://schemas.microsoft.com/office/drawing/2014/main" id="{D1EAD6DE-D485-4AB0-8542-C57F42EB4FE6}"/>
                </a:ext>
              </a:extLst>
            </p:cNvPr>
            <p:cNvPicPr/>
            <p:nvPr/>
          </p:nvPicPr>
          <p:blipFill rotWithShape="1">
            <a:blip r:embed="rId8"/>
            <a:stretch>
              <a:fillRect/>
            </a:stretch>
          </p:blipFill>
          <p:spPr>
            <a:xfrm>
              <a:off x="9441210" y="1295595"/>
              <a:ext cx="2609850" cy="4848225"/>
            </a:xfrm>
            <a:prstGeom prst="rect">
              <a:avLst/>
            </a:prstGeom>
          </p:spPr>
        </p:pic>
        <p:pic>
          <p:nvPicPr>
            <p:cNvPr id="13" name="263_Device_iphone12.png copy">
              <a:extLst>
                <a:ext uri="{FF2B5EF4-FFF2-40B4-BE49-F238E27FC236}">
                  <a16:creationId xmlns:a16="http://schemas.microsoft.com/office/drawing/2014/main" id="{596F7E1A-659B-457C-8FB5-A99A2CC911F9}"/>
                </a:ext>
              </a:extLst>
            </p:cNvPr>
            <p:cNvPicPr/>
            <p:nvPr/>
          </p:nvPicPr>
          <p:blipFill rotWithShape="1">
            <a:blip r:embed="rId8"/>
            <a:stretch>
              <a:fillRect/>
            </a:stretch>
          </p:blipFill>
          <p:spPr>
            <a:xfrm>
              <a:off x="5855021" y="1292777"/>
              <a:ext cx="2609850" cy="4848225"/>
            </a:xfrm>
            <a:prstGeom prst="rect">
              <a:avLst/>
            </a:prstGeom>
          </p:spPr>
        </p:pic>
        <p:pic>
          <p:nvPicPr>
            <p:cNvPr id="12290" name="id-82AC403D-5F29-4613-BDE0-C69A6105F7BB">
              <a:extLst>
                <a:ext uri="{FF2B5EF4-FFF2-40B4-BE49-F238E27FC236}">
                  <a16:creationId xmlns:a16="http://schemas.microsoft.com/office/drawing/2014/main" id="{A5179B68-2201-474D-A78D-64ED061AE52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7368"/>
            <a:stretch/>
          </p:blipFill>
          <p:spPr bwMode="auto">
            <a:xfrm>
              <a:off x="6220921" y="2045776"/>
              <a:ext cx="1578485" cy="3298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2" name="id-C6FD574B-4996-47DA-995A-DAA00FD28299">
              <a:extLst>
                <a:ext uri="{FF2B5EF4-FFF2-40B4-BE49-F238E27FC236}">
                  <a16:creationId xmlns:a16="http://schemas.microsoft.com/office/drawing/2014/main" id="{64D189AF-003A-46A2-9B60-13FF099F753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7369"/>
            <a:stretch/>
          </p:blipFill>
          <p:spPr bwMode="auto">
            <a:xfrm>
              <a:off x="10029550" y="2045775"/>
              <a:ext cx="1637432" cy="3298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263_Device_iphone12.png copy">
              <a:extLst>
                <a:ext uri="{FF2B5EF4-FFF2-40B4-BE49-F238E27FC236}">
                  <a16:creationId xmlns:a16="http://schemas.microsoft.com/office/drawing/2014/main" id="{F2080BCF-1A70-4796-8137-4C8BFF665C27}"/>
                </a:ext>
              </a:extLst>
            </p:cNvPr>
            <p:cNvPicPr/>
            <p:nvPr/>
          </p:nvPicPr>
          <p:blipFill rotWithShape="1">
            <a:blip r:embed="rId8"/>
            <a:stretch>
              <a:fillRect/>
            </a:stretch>
          </p:blipFill>
          <p:spPr>
            <a:xfrm>
              <a:off x="7147342" y="390828"/>
              <a:ext cx="3543300" cy="6591300"/>
            </a:xfrm>
            <a:prstGeom prst="rect">
              <a:avLst/>
            </a:prstGeom>
          </p:spPr>
        </p:pic>
        <p:pic>
          <p:nvPicPr>
            <p:cNvPr id="12291" name="id-28D542F3-E006-4941-B268-62B10549F09D">
              <a:extLst>
                <a:ext uri="{FF2B5EF4-FFF2-40B4-BE49-F238E27FC236}">
                  <a16:creationId xmlns:a16="http://schemas.microsoft.com/office/drawing/2014/main" id="{A5170BA0-0232-4AF9-B287-A245C1B5D91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7824"/>
            <a:stretch/>
          </p:blipFill>
          <p:spPr bwMode="auto">
            <a:xfrm>
              <a:off x="7663993" y="1427497"/>
              <a:ext cx="2486498" cy="4464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1" name="Straight Connector 20">
            <a:extLst>
              <a:ext uri="{FF2B5EF4-FFF2-40B4-BE49-F238E27FC236}">
                <a16:creationId xmlns:a16="http://schemas.microsoft.com/office/drawing/2014/main" id="{4D324E72-D865-4ACD-A7F1-4F81A5B274E8}"/>
              </a:ext>
            </a:extLst>
          </p:cNvPr>
          <p:cNvCxnSpPr>
            <a:cxnSpLocks/>
          </p:cNvCxnSpPr>
          <p:nvPr/>
        </p:nvCxnSpPr>
        <p:spPr>
          <a:xfrm>
            <a:off x="-13650" y="955339"/>
            <a:ext cx="5274661" cy="0"/>
          </a:xfrm>
          <a:prstGeom prst="line">
            <a:avLst/>
          </a:prstGeom>
          <a:ln>
            <a:solidFill>
              <a:srgbClr val="92D050"/>
            </a:solidFill>
          </a:ln>
        </p:spPr>
        <p:style>
          <a:lnRef idx="1">
            <a:schemeClr val="dk1"/>
          </a:lnRef>
          <a:fillRef idx="0">
            <a:schemeClr val="dk1"/>
          </a:fillRef>
          <a:effectRef idx="0">
            <a:schemeClr val="dk1"/>
          </a:effectRef>
          <a:fontRef idx="minor">
            <a:schemeClr val="tx1"/>
          </a:fontRef>
        </p:style>
      </p:cxnSp>
      <p:sp>
        <p:nvSpPr>
          <p:cNvPr id="19" name="Text Placeholder 7">
            <a:extLst>
              <a:ext uri="{FF2B5EF4-FFF2-40B4-BE49-F238E27FC236}">
                <a16:creationId xmlns:a16="http://schemas.microsoft.com/office/drawing/2014/main" id="{0A7F963B-AD06-4D1D-96BA-EEAEA1C9BE7D}"/>
              </a:ext>
            </a:extLst>
          </p:cNvPr>
          <p:cNvSpPr txBox="1">
            <a:spLocks/>
          </p:cNvSpPr>
          <p:nvPr/>
        </p:nvSpPr>
        <p:spPr>
          <a:xfrm>
            <a:off x="651128" y="1131810"/>
            <a:ext cx="4576740" cy="1058711"/>
          </a:xfrm>
          <a:prstGeom prst="rect">
            <a:avLst/>
          </a:prstGeom>
        </p:spPr>
        <p:txBody>
          <a:bodyPr>
            <a:noAutofit/>
          </a:bodyPr>
          <a:lstStyle>
            <a:defPPr marR="0" lvl="0" algn="l" rtl="0">
              <a:lnSpc>
                <a:spcPct val="100000"/>
              </a:lnSpc>
              <a:spcBef>
                <a:spcPts val="0"/>
              </a:spcBef>
              <a:spcAft>
                <a:spcPts val="0"/>
              </a:spcAft>
            </a:defPPr>
            <a:lvl1pPr marL="228600" marR="0" lvl="0"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400" b="0" i="0" u="none" strike="noStrike" cap="none">
                <a:solidFill>
                  <a:schemeClr val="tx1"/>
                </a:solidFill>
                <a:latin typeface="Arial"/>
                <a:ea typeface="Arial"/>
                <a:cs typeface="Arial"/>
                <a:sym typeface="Arial"/>
              </a:defRPr>
            </a:lvl1pPr>
            <a:lvl2pPr marL="685800" marR="0" lvl="1"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200" b="0" i="0" u="none" strike="noStrike" cap="none">
                <a:solidFill>
                  <a:schemeClr val="tx1"/>
                </a:solidFill>
                <a:latin typeface="Arial"/>
                <a:ea typeface="Arial"/>
                <a:cs typeface="Arial"/>
                <a:sym typeface="Arial"/>
              </a:defRPr>
            </a:lvl2pPr>
            <a:lvl3pPr marL="1143000" marR="0" lvl="2"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200" b="0" i="0" u="none" strike="noStrike" cap="none">
                <a:solidFill>
                  <a:schemeClr val="tx1"/>
                </a:solidFill>
                <a:latin typeface="Arial"/>
                <a:ea typeface="Arial"/>
                <a:cs typeface="Arial"/>
                <a:sym typeface="Arial"/>
              </a:defRPr>
            </a:lvl3pPr>
            <a:lvl4pPr marL="1600200" marR="0" lvl="3"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200" b="0" i="0" u="none" strike="noStrike" cap="none">
                <a:solidFill>
                  <a:schemeClr val="tx1"/>
                </a:solidFill>
                <a:latin typeface="Arial"/>
                <a:ea typeface="Arial"/>
                <a:cs typeface="Arial"/>
                <a:sym typeface="Arial"/>
              </a:defRPr>
            </a:lvl4pPr>
            <a:lvl5pPr marL="2057400" marR="0" lvl="4" indent="-228600" algn="l" defTabSz="914400" rtl="0" eaLnBrk="1" fontAlgn="auto" latinLnBrk="0" hangingPunct="1">
              <a:lnSpc>
                <a:spcPct val="90000"/>
              </a:lnSpc>
              <a:spcBef>
                <a:spcPts val="600"/>
              </a:spcBef>
              <a:spcAft>
                <a:spcPts val="600"/>
              </a:spcAft>
              <a:buClrTx/>
              <a:buSzTx/>
              <a:buFont typeface="Wingdings" panose="05000000000000000000" pitchFamily="2" charset="2"/>
              <a:buChar char="q"/>
              <a:tabLst/>
              <a:defRPr sz="12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indent="0">
              <a:buNone/>
            </a:pPr>
            <a:r>
              <a:rPr lang="en-US" sz="1600"/>
              <a:t>Below are a few useful resource materials to assist you in your modernization journey.</a:t>
            </a:r>
          </a:p>
        </p:txBody>
      </p:sp>
      <p:sp>
        <p:nvSpPr>
          <p:cNvPr id="20" name="TextBox 19">
            <a:extLst>
              <a:ext uri="{FF2B5EF4-FFF2-40B4-BE49-F238E27FC236}">
                <a16:creationId xmlns:a16="http://schemas.microsoft.com/office/drawing/2014/main" id="{6B2A2FAE-C7F2-47E3-B71E-0C61E9237FED}"/>
              </a:ext>
            </a:extLst>
          </p:cNvPr>
          <p:cNvSpPr txBox="1"/>
          <p:nvPr/>
        </p:nvSpPr>
        <p:spPr>
          <a:xfrm>
            <a:off x="3733800" y="6527812"/>
            <a:ext cx="4724400" cy="261610"/>
          </a:xfrm>
          <a:prstGeom prst="rect">
            <a:avLst/>
          </a:prstGeom>
          <a:noFill/>
        </p:spPr>
        <p:txBody>
          <a:bodyPr wrap="square" rtlCol="0">
            <a:spAutoFit/>
          </a:bodyPr>
          <a:lstStyle/>
          <a:p>
            <a:pPr algn="ctr"/>
            <a:r>
              <a:rPr lang="en-US" sz="1100" i="1" dirty="0">
                <a:solidFill>
                  <a:schemeClr val="bg1"/>
                </a:solidFill>
              </a:rPr>
              <a:t>- Last published June 2022 -</a:t>
            </a:r>
          </a:p>
        </p:txBody>
      </p:sp>
      <p:sp>
        <p:nvSpPr>
          <p:cNvPr id="3" name="Slide Number Placeholder 2">
            <a:extLst>
              <a:ext uri="{FF2B5EF4-FFF2-40B4-BE49-F238E27FC236}">
                <a16:creationId xmlns:a16="http://schemas.microsoft.com/office/drawing/2014/main" id="{6616A28A-DA32-43D9-9E83-41A04C56CD88}"/>
              </a:ext>
            </a:extLst>
          </p:cNvPr>
          <p:cNvSpPr>
            <a:spLocks noGrp="1"/>
          </p:cNvSpPr>
          <p:nvPr>
            <p:ph type="sldNum" idx="20"/>
          </p:nvPr>
        </p:nvSpPr>
        <p:spPr/>
        <p:txBody>
          <a:bodyPr/>
          <a:lstStyle/>
          <a:p>
            <a:fld id="{00000000-1234-1234-1234-123412341234}" type="slidenum">
              <a:rPr lang="en" smtClean="0">
                <a:solidFill>
                  <a:schemeClr val="bg1"/>
                </a:solidFill>
              </a:rPr>
              <a:pPr/>
              <a:t>24</a:t>
            </a:fld>
            <a:endParaRPr lang="en">
              <a:solidFill>
                <a:schemeClr val="bg1"/>
              </a:solidFill>
            </a:endParaRPr>
          </a:p>
        </p:txBody>
      </p:sp>
    </p:spTree>
    <p:extLst>
      <p:ext uri="{BB962C8B-B14F-4D97-AF65-F5344CB8AC3E}">
        <p14:creationId xmlns:p14="http://schemas.microsoft.com/office/powerpoint/2010/main" val="7458574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descr="Background pattern&#10;&#10;Description automatically generated">
            <a:extLst>
              <a:ext uri="{FF2B5EF4-FFF2-40B4-BE49-F238E27FC236}">
                <a16:creationId xmlns:a16="http://schemas.microsoft.com/office/drawing/2014/main" id="{D2BE96BF-9402-4C06-AF2C-35B4FE71AFDC}"/>
              </a:ext>
            </a:extLst>
          </p:cNvPr>
          <p:cNvPicPr>
            <a:picLocks noChangeAspect="1"/>
          </p:cNvPicPr>
          <p:nvPr/>
        </p:nvPicPr>
        <p:blipFill rotWithShape="1">
          <a:blip r:embed="rId2"/>
          <a:srcRect b="19"/>
          <a:stretch/>
        </p:blipFill>
        <p:spPr>
          <a:xfrm>
            <a:off x="20" y="1282"/>
            <a:ext cx="12191980" cy="6856718"/>
          </a:xfrm>
          <a:prstGeom prst="rect">
            <a:avLst/>
          </a:prstGeom>
        </p:spPr>
      </p:pic>
      <p:sp>
        <p:nvSpPr>
          <p:cNvPr id="2" name="Slide Number Placeholder 1">
            <a:extLst>
              <a:ext uri="{FF2B5EF4-FFF2-40B4-BE49-F238E27FC236}">
                <a16:creationId xmlns:a16="http://schemas.microsoft.com/office/drawing/2014/main" id="{54B4DCAA-C67B-45CA-AC56-9E7651D771F2}"/>
              </a:ext>
            </a:extLst>
          </p:cNvPr>
          <p:cNvSpPr>
            <a:spLocks noGrp="1"/>
          </p:cNvSpPr>
          <p:nvPr>
            <p:ph type="sldNum" sz="quarter" idx="12"/>
          </p:nvPr>
        </p:nvSpPr>
        <p:spPr>
          <a:xfrm>
            <a:off x="8754982" y="6356350"/>
            <a:ext cx="2743200" cy="365125"/>
          </a:xfrm>
        </p:spPr>
        <p:txBody>
          <a:bodyPr>
            <a:normAutofit/>
          </a:bodyPr>
          <a:lstStyle/>
          <a:p>
            <a:pPr>
              <a:spcAft>
                <a:spcPts val="600"/>
              </a:spcAft>
            </a:pPr>
            <a:fld id="{DF6943E6-0357-1B40-8726-50F09ABBA837}" type="slidenum">
              <a:rPr lang="en-US">
                <a:solidFill>
                  <a:srgbClr val="FFFFFF"/>
                </a:solidFill>
              </a:rPr>
              <a:pPr>
                <a:spcAft>
                  <a:spcPts val="600"/>
                </a:spcAft>
              </a:pPr>
              <a:t>25</a:t>
            </a:fld>
            <a:endParaRPr lang="en-US">
              <a:solidFill>
                <a:srgbClr val="FFFFFF"/>
              </a:solidFill>
            </a:endParaRPr>
          </a:p>
        </p:txBody>
      </p:sp>
      <p:grpSp>
        <p:nvGrpSpPr>
          <p:cNvPr id="11" name="Group 10">
            <a:extLst>
              <a:ext uri="{FF2B5EF4-FFF2-40B4-BE49-F238E27FC236}">
                <a16:creationId xmlns:a16="http://schemas.microsoft.com/office/drawing/2014/main" id="{FE61D8FD-9D1F-42A2-A833-B17B9AC3B097}"/>
              </a:ext>
            </a:extLst>
          </p:cNvPr>
          <p:cNvGrpSpPr/>
          <p:nvPr/>
        </p:nvGrpSpPr>
        <p:grpSpPr>
          <a:xfrm>
            <a:off x="1498146" y="455301"/>
            <a:ext cx="9195702" cy="4745019"/>
            <a:chOff x="1498148" y="701039"/>
            <a:chExt cx="9195702" cy="4610747"/>
          </a:xfrm>
        </p:grpSpPr>
        <p:pic>
          <p:nvPicPr>
            <p:cNvPr id="6" name="Shape-1">
              <a:extLst>
                <a:ext uri="{FF2B5EF4-FFF2-40B4-BE49-F238E27FC236}">
                  <a16:creationId xmlns:a16="http://schemas.microsoft.com/office/drawing/2014/main" id="{36709E6B-2279-4F1C-9EE3-AAE415409708}"/>
                </a:ext>
              </a:extLst>
            </p:cNvPr>
            <p:cNvPicPr/>
            <p:nvPr/>
          </p:nvPicPr>
          <p:blipFill rotWithShape="1">
            <a:blip r:embed="rId3"/>
            <a:stretch>
              <a:fillRect/>
            </a:stretch>
          </p:blipFill>
          <p:spPr>
            <a:xfrm>
              <a:off x="1498148" y="701039"/>
              <a:ext cx="9195702" cy="4610747"/>
            </a:xfrm>
            <a:prstGeom prst="rect">
              <a:avLst/>
            </a:prstGeom>
          </p:spPr>
        </p:pic>
        <p:sp>
          <p:nvSpPr>
            <p:cNvPr id="7" name="Rectangle 6">
              <a:extLst>
                <a:ext uri="{FF2B5EF4-FFF2-40B4-BE49-F238E27FC236}">
                  <a16:creationId xmlns:a16="http://schemas.microsoft.com/office/drawing/2014/main" id="{52B17029-0450-450B-A16A-2B762C0C44A6}"/>
                </a:ext>
              </a:extLst>
            </p:cNvPr>
            <p:cNvSpPr/>
            <p:nvPr/>
          </p:nvSpPr>
          <p:spPr>
            <a:xfrm>
              <a:off x="1787761" y="830968"/>
              <a:ext cx="8616476" cy="4319256"/>
            </a:xfrm>
            <a:prstGeom prst="rect">
              <a:avLst/>
            </a:prstGeom>
            <a:noFill/>
            <a:ln w="38100">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copy">
              <a:extLst>
                <a:ext uri="{FF2B5EF4-FFF2-40B4-BE49-F238E27FC236}">
                  <a16:creationId xmlns:a16="http://schemas.microsoft.com/office/drawing/2014/main" id="{E3D3B3F3-BDB4-4074-B78F-42D021CB6A3D}"/>
                </a:ext>
              </a:extLst>
            </p:cNvPr>
            <p:cNvSpPr/>
            <p:nvPr/>
          </p:nvSpPr>
          <p:spPr>
            <a:xfrm>
              <a:off x="2525865" y="1276794"/>
              <a:ext cx="7140264" cy="508744"/>
            </a:xfrm>
            <a:prstGeom prst="rect">
              <a:avLst/>
            </a:prstGeom>
          </p:spPr>
          <p:txBody>
            <a:bodyPr spcFirstLastPara="0" lIns="89253" tIns="0" rIns="89253" bIns="0" anchor="t"/>
            <a:lstStyle/>
            <a:p>
              <a:pPr algn="ctr" defTabSz="856793" hangingPunct="0">
                <a:buClrTx/>
              </a:pPr>
              <a:r>
                <a:rPr lang="en-US" sz="3200" b="1" kern="1200" spc="141">
                  <a:solidFill>
                    <a:srgbClr val="005087"/>
                  </a:solidFill>
                  <a:latin typeface="Arial" panose="020B0604020202020204" pitchFamily="34" charset="0"/>
                  <a:ea typeface="+mn-ea"/>
                  <a:cs typeface="Arial" panose="020B0604020202020204" pitchFamily="34" charset="0"/>
                </a:rPr>
                <a:t>HOW CAN YOU GET INVOLVED?</a:t>
              </a:r>
              <a:endParaRPr sz="3200" b="1" kern="1200" spc="141">
                <a:solidFill>
                  <a:srgbClr val="005087"/>
                </a:solidFill>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54145BCD-8A57-4CF4-B6E8-B2B936A8B340}"/>
                </a:ext>
              </a:extLst>
            </p:cNvPr>
            <p:cNvSpPr txBox="1">
              <a:spLocks/>
            </p:cNvSpPr>
            <p:nvPr/>
          </p:nvSpPr>
          <p:spPr>
            <a:xfrm>
              <a:off x="2525865" y="2166365"/>
              <a:ext cx="7314423" cy="2043093"/>
            </a:xfrm>
            <a:prstGeom prst="rect">
              <a:avLst/>
            </a:prstGeom>
          </p:spPr>
          <p:txBody>
            <a:bodyPr vert="horz" lIns="91440" tIns="45720" rIns="91440" bIns="45720" rtlCol="0">
              <a:normAutofit fontScale="85000" lnSpcReduction="20000"/>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285750" marR="0" lvl="0" indent="-285750" algn="l" defTabSz="914400" rtl="0" eaLnBrk="1" fontAlgn="auto" latinLnBrk="0" hangingPunct="1">
                <a:lnSpc>
                  <a:spcPct val="150000"/>
                </a:lnSpc>
                <a:spcBef>
                  <a:spcPts val="1200"/>
                </a:spcBef>
                <a:spcAft>
                  <a:spcPts val="6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5087"/>
                  </a:solidFill>
                  <a:effectLst/>
                  <a:uLnTx/>
                  <a:uFillTx/>
                  <a:latin typeface="Arial"/>
                  <a:cs typeface="Arial"/>
                  <a:sym typeface="Arial"/>
                </a:rPr>
                <a:t>Help build awareness of the M3 Playbook and its benefits by sharing with additional channels in your community </a:t>
              </a:r>
            </a:p>
            <a:p>
              <a:pPr marL="285750" lvl="0" indent="-285750">
                <a:lnSpc>
                  <a:spcPct val="150000"/>
                </a:lnSpc>
                <a:spcBef>
                  <a:spcPts val="1200"/>
                </a:spcBef>
                <a:buFont typeface="Arial" panose="020B0604020202020204" pitchFamily="34" charset="0"/>
                <a:buChar char="►"/>
                <a:defRPr/>
              </a:pPr>
              <a:r>
                <a:rPr kumimoji="0" lang="en-US" sz="1800" b="0" i="0" u="none" strike="noStrike" kern="0" cap="none" spc="0" normalizeH="0" baseline="0" noProof="0" dirty="0">
                  <a:ln>
                    <a:noFill/>
                  </a:ln>
                  <a:solidFill>
                    <a:srgbClr val="005087"/>
                  </a:solidFill>
                  <a:effectLst/>
                  <a:uLnTx/>
                  <a:uFillTx/>
                  <a:latin typeface="Arial"/>
                  <a:cs typeface="Arial"/>
                  <a:sym typeface="Arial"/>
                </a:rPr>
                <a:t>Reach out to one of the QSMOs to explore their service and solution offerings </a:t>
              </a:r>
              <a:r>
                <a:rPr lang="en-US" sz="1800" dirty="0">
                  <a:solidFill>
                    <a:srgbClr val="005087"/>
                  </a:solidFill>
                  <a:hlinkClick r:id="rId4">
                    <a:extLst>
                      <a:ext uri="{A12FA001-AC4F-418D-AE19-62706E023703}">
                        <ahyp:hlinkClr xmlns:ahyp="http://schemas.microsoft.com/office/drawing/2018/hyperlinkcolor" val="tx"/>
                      </a:ext>
                    </a:extLst>
                  </a:hlinkClick>
                </a:rPr>
                <a:t>here</a:t>
              </a:r>
              <a:r>
                <a:rPr lang="en-US" sz="1800" dirty="0">
                  <a:solidFill>
                    <a:srgbClr val="005087"/>
                  </a:solidFill>
                </a:rPr>
                <a:t> </a:t>
              </a:r>
            </a:p>
            <a:p>
              <a:pPr marL="285750" lvl="0" indent="-285750">
                <a:lnSpc>
                  <a:spcPct val="150000"/>
                </a:lnSpc>
                <a:spcBef>
                  <a:spcPts val="1200"/>
                </a:spcBef>
                <a:buFont typeface="Arial" panose="020B0604020202020204" pitchFamily="34" charset="0"/>
                <a:buChar char="►"/>
                <a:defRPr/>
              </a:pPr>
              <a:r>
                <a:rPr kumimoji="0" lang="en-US" sz="1800" b="0" i="0" u="none" strike="noStrike" kern="0" cap="none" spc="0" normalizeH="0" baseline="0" noProof="0" dirty="0">
                  <a:ln>
                    <a:noFill/>
                  </a:ln>
                  <a:solidFill>
                    <a:srgbClr val="005087"/>
                  </a:solidFill>
                  <a:effectLst/>
                  <a:uLnTx/>
                  <a:uFillTx/>
                  <a:latin typeface="Arial"/>
                  <a:cs typeface="Arial"/>
                  <a:sym typeface="Arial"/>
                </a:rPr>
                <a:t>Send any questions or feedback to OSSPI at </a:t>
              </a:r>
              <a:r>
                <a:rPr kumimoji="0" lang="en-US" sz="1800" b="0" i="0" u="none" strike="noStrike" kern="0" cap="none" spc="0" normalizeH="0" baseline="0" noProof="0" dirty="0" err="1">
                  <a:ln>
                    <a:noFill/>
                  </a:ln>
                  <a:solidFill>
                    <a:srgbClr val="005087"/>
                  </a:solidFill>
                  <a:effectLst/>
                  <a:uLnTx/>
                  <a:uFillTx/>
                  <a:sym typeface="Arial"/>
                  <a:hlinkClick r:id="rId5">
                    <a:extLst>
                      <a:ext uri="{A12FA001-AC4F-418D-AE19-62706E023703}">
                        <ahyp:hlinkClr xmlns:ahyp="http://schemas.microsoft.com/office/drawing/2018/hyperlinkcolor" val="tx"/>
                      </a:ext>
                    </a:extLst>
                  </a:hlinkClick>
                </a:rPr>
                <a:t>osspi</a:t>
              </a:r>
              <a:r>
                <a:rPr lang="en-US" sz="1800" dirty="0">
                  <a:solidFill>
                    <a:srgbClr val="005087"/>
                  </a:solidFill>
                  <a:hlinkClick r:id="rId5">
                    <a:extLst>
                      <a:ext uri="{A12FA001-AC4F-418D-AE19-62706E023703}">
                        <ahyp:hlinkClr xmlns:ahyp="http://schemas.microsoft.com/office/drawing/2018/hyperlinkcolor" val="tx"/>
                      </a:ext>
                    </a:extLst>
                  </a:hlinkClick>
                </a:rPr>
                <a:t>.</a:t>
              </a:r>
              <a:r>
                <a:rPr lang="en-US" sz="1800" dirty="0" err="1">
                  <a:solidFill>
                    <a:srgbClr val="005087"/>
                  </a:solidFill>
                  <a:hlinkClick r:id="rId5">
                    <a:extLst>
                      <a:ext uri="{A12FA001-AC4F-418D-AE19-62706E023703}">
                        <ahyp:hlinkClr xmlns:ahyp="http://schemas.microsoft.com/office/drawing/2018/hyperlinkcolor" val="tx"/>
                      </a:ext>
                    </a:extLst>
                  </a:hlinkClick>
                </a:rPr>
                <a:t>sharedservices</a:t>
              </a:r>
              <a:r>
                <a:rPr kumimoji="0" lang="en-US" sz="1800" b="0" i="0" u="none" strike="noStrike" kern="0" cap="none" spc="0" normalizeH="0" baseline="0" noProof="0" dirty="0">
                  <a:ln>
                    <a:noFill/>
                  </a:ln>
                  <a:solidFill>
                    <a:srgbClr val="005087"/>
                  </a:solidFill>
                  <a:effectLst/>
                  <a:uLnTx/>
                  <a:uFillTx/>
                  <a:sym typeface="Arial"/>
                  <a:hlinkClick r:id="rId5">
                    <a:extLst>
                      <a:ext uri="{A12FA001-AC4F-418D-AE19-62706E023703}">
                        <ahyp:hlinkClr xmlns:ahyp="http://schemas.microsoft.com/office/drawing/2018/hyperlinkcolor" val="tx"/>
                      </a:ext>
                    </a:extLst>
                  </a:hlinkClick>
                </a:rPr>
                <a:t>@gsa.gov</a:t>
              </a:r>
              <a:endParaRPr kumimoji="0" lang="en-US" sz="1800" b="0" i="0" u="none" strike="noStrike" kern="0" cap="none" spc="0" normalizeH="0" baseline="0" noProof="0" dirty="0">
                <a:ln>
                  <a:noFill/>
                </a:ln>
                <a:solidFill>
                  <a:srgbClr val="005087"/>
                </a:solidFill>
                <a:effectLst/>
                <a:uLnTx/>
                <a:uFillTx/>
                <a:sym typeface="Arial"/>
              </a:endParaRPr>
            </a:p>
          </p:txBody>
        </p:sp>
      </p:grpSp>
      <p:grpSp>
        <p:nvGrpSpPr>
          <p:cNvPr id="13" name="Group 12">
            <a:extLst>
              <a:ext uri="{FF2B5EF4-FFF2-40B4-BE49-F238E27FC236}">
                <a16:creationId xmlns:a16="http://schemas.microsoft.com/office/drawing/2014/main" id="{CA1DFC97-0A6E-4D1C-A1FE-D914BAA433EC}"/>
              </a:ext>
            </a:extLst>
          </p:cNvPr>
          <p:cNvGrpSpPr/>
          <p:nvPr/>
        </p:nvGrpSpPr>
        <p:grpSpPr>
          <a:xfrm>
            <a:off x="3325252" y="5427743"/>
            <a:ext cx="5541480" cy="961270"/>
            <a:chOff x="3325256" y="5654338"/>
            <a:chExt cx="5541480" cy="672852"/>
          </a:xfrm>
        </p:grpSpPr>
        <p:sp>
          <p:nvSpPr>
            <p:cNvPr id="5" name="Rectangle 4">
              <a:extLst>
                <a:ext uri="{FF2B5EF4-FFF2-40B4-BE49-F238E27FC236}">
                  <a16:creationId xmlns:a16="http://schemas.microsoft.com/office/drawing/2014/main" id="{AB222198-3967-4550-8F80-689C4C2D53EC}"/>
                </a:ext>
              </a:extLst>
            </p:cNvPr>
            <p:cNvSpPr/>
            <p:nvPr/>
          </p:nvSpPr>
          <p:spPr>
            <a:xfrm>
              <a:off x="3325256" y="5654338"/>
              <a:ext cx="5541480" cy="672852"/>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4E3F3D7E-2890-4D4B-B3E4-127E7318EC6A}"/>
                </a:ext>
              </a:extLst>
            </p:cNvPr>
            <p:cNvSpPr txBox="1"/>
            <p:nvPr/>
          </p:nvSpPr>
          <p:spPr>
            <a:xfrm>
              <a:off x="3615014" y="5781265"/>
              <a:ext cx="4961965" cy="409320"/>
            </a:xfrm>
            <a:prstGeom prst="rect">
              <a:avLst/>
            </a:prstGeom>
            <a:noFill/>
          </p:spPr>
          <p:txBody>
            <a:bodyPr wrap="square" rtlCol="0">
              <a:spAutoFit/>
            </a:bodyPr>
            <a:lstStyle/>
            <a:p>
              <a:pPr algn="ctr"/>
              <a:r>
                <a:rPr lang="en-US" sz="1600" b="1"/>
                <a:t>Check out the M3 website here: </a:t>
              </a:r>
            </a:p>
            <a:p>
              <a:pPr algn="ctr"/>
              <a:r>
                <a:rPr lang="en-US" sz="1600" b="1" u="sng">
                  <a:solidFill>
                    <a:schemeClr val="tx2"/>
                  </a:solidFill>
                  <a:hlinkClick r:id="rId6">
                    <a:extLst>
                      <a:ext uri="{A12FA001-AC4F-418D-AE19-62706E023703}">
                        <ahyp:hlinkClr xmlns:ahyp="http://schemas.microsoft.com/office/drawing/2018/hyperlinkcolor" val="tx"/>
                      </a:ext>
                    </a:extLst>
                  </a:hlinkClick>
                </a:rPr>
                <a:t>M3 Playbook</a:t>
              </a:r>
              <a:endParaRPr lang="en-US" sz="1600" b="1" u="sng">
                <a:solidFill>
                  <a:schemeClr val="tx2"/>
                </a:solidFill>
              </a:endParaRPr>
            </a:p>
          </p:txBody>
        </p:sp>
      </p:grpSp>
      <p:sp>
        <p:nvSpPr>
          <p:cNvPr id="14" name="Rectangle 13">
            <a:extLst>
              <a:ext uri="{FF2B5EF4-FFF2-40B4-BE49-F238E27FC236}">
                <a16:creationId xmlns:a16="http://schemas.microsoft.com/office/drawing/2014/main" id="{8EB93EA5-E9D7-47F0-B2A2-7EEBD2B36D6F}"/>
              </a:ext>
            </a:extLst>
          </p:cNvPr>
          <p:cNvSpPr/>
          <p:nvPr/>
        </p:nvSpPr>
        <p:spPr>
          <a:xfrm>
            <a:off x="3465148" y="5493402"/>
            <a:ext cx="5261688" cy="829952"/>
          </a:xfrm>
          <a:prstGeom prst="rect">
            <a:avLst/>
          </a:prstGeom>
          <a:noFill/>
          <a:ln w="19050">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7397F3D4-8423-41A4-9B06-2793FCF64F2D}"/>
              </a:ext>
            </a:extLst>
          </p:cNvPr>
          <p:cNvSpPr txBox="1"/>
          <p:nvPr/>
        </p:nvSpPr>
        <p:spPr>
          <a:xfrm>
            <a:off x="3733800" y="6527812"/>
            <a:ext cx="4724400" cy="261610"/>
          </a:xfrm>
          <a:prstGeom prst="rect">
            <a:avLst/>
          </a:prstGeom>
          <a:noFill/>
        </p:spPr>
        <p:txBody>
          <a:bodyPr wrap="square" rtlCol="0">
            <a:spAutoFit/>
          </a:bodyPr>
          <a:lstStyle/>
          <a:p>
            <a:pPr algn="ctr"/>
            <a:r>
              <a:rPr lang="en-US" sz="1100" i="1" dirty="0">
                <a:solidFill>
                  <a:schemeClr val="bg1"/>
                </a:solidFill>
              </a:rPr>
              <a:t>- Last published June 2022 -</a:t>
            </a:r>
          </a:p>
        </p:txBody>
      </p:sp>
    </p:spTree>
    <p:extLst>
      <p:ext uri="{BB962C8B-B14F-4D97-AF65-F5344CB8AC3E}">
        <p14:creationId xmlns:p14="http://schemas.microsoft.com/office/powerpoint/2010/main" val="26122827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C953D8DD-9654-47C0-A375-5293E38B6262}"/>
              </a:ext>
            </a:extLst>
          </p:cNvPr>
          <p:cNvGrpSpPr/>
          <p:nvPr/>
        </p:nvGrpSpPr>
        <p:grpSpPr>
          <a:xfrm>
            <a:off x="838" y="1"/>
            <a:ext cx="12193005" cy="3410768"/>
            <a:chOff x="0" y="3836630"/>
            <a:chExt cx="12196277" cy="3103392"/>
          </a:xfrm>
        </p:grpSpPr>
        <p:sp>
          <p:nvSpPr>
            <p:cNvPr id="25" name="Rectangle 24">
              <a:extLst>
                <a:ext uri="{FF2B5EF4-FFF2-40B4-BE49-F238E27FC236}">
                  <a16:creationId xmlns:a16="http://schemas.microsoft.com/office/drawing/2014/main" id="{25044A6A-B50D-49CB-B151-A69348CE0286}"/>
                </a:ext>
              </a:extLst>
            </p:cNvPr>
            <p:cNvSpPr/>
            <p:nvPr/>
          </p:nvSpPr>
          <p:spPr>
            <a:xfrm>
              <a:off x="0" y="3836630"/>
              <a:ext cx="12192000" cy="3103392"/>
            </a:xfrm>
            <a:prstGeom prst="rect">
              <a:avLst/>
            </a:prstGeom>
            <a:solidFill>
              <a:srgbClr val="005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6" name="Picture 25">
              <a:extLst>
                <a:ext uri="{FF2B5EF4-FFF2-40B4-BE49-F238E27FC236}">
                  <a16:creationId xmlns:a16="http://schemas.microsoft.com/office/drawing/2014/main" id="{44553CD9-39F7-4483-A2EF-6C1C2B93DAF0}"/>
                </a:ext>
              </a:extLst>
            </p:cNvPr>
            <p:cNvPicPr>
              <a:picLocks noChangeAspect="1"/>
            </p:cNvPicPr>
            <p:nvPr/>
          </p:nvPicPr>
          <p:blipFill>
            <a:blip r:embed="rId3"/>
            <a:stretch>
              <a:fillRect/>
            </a:stretch>
          </p:blipFill>
          <p:spPr>
            <a:xfrm>
              <a:off x="4277" y="3836630"/>
              <a:ext cx="12192000" cy="3103392"/>
            </a:xfrm>
            <a:prstGeom prst="rect">
              <a:avLst/>
            </a:prstGeom>
          </p:spPr>
        </p:pic>
      </p:grpSp>
      <p:sp>
        <p:nvSpPr>
          <p:cNvPr id="7" name="Rectangle 6">
            <a:extLst>
              <a:ext uri="{FF2B5EF4-FFF2-40B4-BE49-F238E27FC236}">
                <a16:creationId xmlns:a16="http://schemas.microsoft.com/office/drawing/2014/main" id="{21D579E0-6886-4322-B2B2-F22CC80F64B3}"/>
              </a:ext>
            </a:extLst>
          </p:cNvPr>
          <p:cNvSpPr/>
          <p:nvPr/>
        </p:nvSpPr>
        <p:spPr>
          <a:xfrm>
            <a:off x="528918" y="6222434"/>
            <a:ext cx="1228164" cy="51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 name="Footer Placeholder 2">
            <a:extLst>
              <a:ext uri="{FF2B5EF4-FFF2-40B4-BE49-F238E27FC236}">
                <a16:creationId xmlns:a16="http://schemas.microsoft.com/office/drawing/2014/main" id="{CEBC9765-4EDC-4E85-8B3F-CCCC4C9D8439}"/>
              </a:ext>
            </a:extLst>
          </p:cNvPr>
          <p:cNvSpPr>
            <a:spLocks noGrp="1"/>
          </p:cNvSpPr>
          <p:nvPr>
            <p:ph type="ftr" sz="quarter" idx="11"/>
          </p:nvPr>
        </p:nvSpPr>
        <p:spPr/>
        <p:txBody>
          <a:bodyPr/>
          <a:lstStyle/>
          <a:p>
            <a:pPr lvl="0">
              <a:defRPr/>
            </a:pPr>
            <a:r>
              <a:rPr lang="en-US">
                <a:solidFill>
                  <a:schemeClr val="bg1"/>
                </a:solidFill>
              </a:rPr>
              <a:t>M3 Playbook Orientation</a:t>
            </a:r>
          </a:p>
        </p:txBody>
      </p:sp>
      <p:sp>
        <p:nvSpPr>
          <p:cNvPr id="6" name="Slide Number Placeholder 5">
            <a:extLst>
              <a:ext uri="{FF2B5EF4-FFF2-40B4-BE49-F238E27FC236}">
                <a16:creationId xmlns:a16="http://schemas.microsoft.com/office/drawing/2014/main" id="{AC83790E-8BFC-469D-96E8-F9C16FC64CDA}"/>
              </a:ext>
            </a:extLst>
          </p:cNvPr>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rgbClr val="005087"/>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lang="en" sz="1200" b="1" i="0" u="none" strike="noStrike" kern="0" cap="none" spc="0" normalizeH="0" baseline="0" noProof="0">
              <a:ln>
                <a:noFill/>
              </a:ln>
              <a:solidFill>
                <a:srgbClr val="005087"/>
              </a:solidFill>
              <a:effectLst/>
              <a:uLnTx/>
              <a:uFillTx/>
              <a:latin typeface="Arial"/>
              <a:ea typeface="+mn-ea"/>
              <a:cs typeface="Arial"/>
              <a:sym typeface="Arial"/>
            </a:endParaRPr>
          </a:p>
        </p:txBody>
      </p:sp>
      <p:sp>
        <p:nvSpPr>
          <p:cNvPr id="15" name="Text Placeholder 7">
            <a:extLst>
              <a:ext uri="{FF2B5EF4-FFF2-40B4-BE49-F238E27FC236}">
                <a16:creationId xmlns:a16="http://schemas.microsoft.com/office/drawing/2014/main" id="{9940FBCF-C3B4-4851-BDF2-E431FC8F4B4D}"/>
              </a:ext>
            </a:extLst>
          </p:cNvPr>
          <p:cNvSpPr txBox="1">
            <a:spLocks/>
          </p:cNvSpPr>
          <p:nvPr/>
        </p:nvSpPr>
        <p:spPr>
          <a:xfrm>
            <a:off x="638356" y="1114477"/>
            <a:ext cx="10938292" cy="519172"/>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1pPr>
            <a:lvl2pPr marL="0" marR="0" lvl="1"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2pPr>
            <a:lvl3pPr marL="0" marR="0" lvl="2"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3pPr>
            <a:lvl4pPr marL="0" marR="0" lvl="3"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4pPr>
            <a:lvl5pPr marL="0" marR="0" lvl="4" indent="0" algn="l" defTabSz="914400" rtl="0" eaLnBrk="1" fontAlgn="auto" latinLnBrk="0" hangingPunct="1">
              <a:lnSpc>
                <a:spcPct val="90000"/>
              </a:lnSpc>
              <a:spcBef>
                <a:spcPts val="600"/>
              </a:spcBef>
              <a:spcAft>
                <a:spcPts val="600"/>
              </a:spcAft>
              <a:buClrTx/>
              <a:buSzTx/>
              <a:buFont typeface="Wingdings" panose="05000000000000000000" pitchFamily="2" charset="2"/>
              <a:buNone/>
              <a:tabLst/>
              <a:defRPr sz="1400" b="0" i="0" u="none" strike="noStrike" cap="none">
                <a:solidFill>
                  <a:schemeClr val="tx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lvl="0">
              <a:defRPr/>
            </a:pPr>
            <a:r>
              <a:rPr lang="en-US" sz="1600">
                <a:solidFill>
                  <a:srgbClr val="FFFFFF"/>
                </a:solidFill>
              </a:rPr>
              <a:t>The M3 Framework provides lessons learned to reduce risk and address challenges inherent in any Federal agency modernization or migration effort.</a:t>
            </a:r>
            <a:endParaRPr kumimoji="0" lang="en-US" sz="1600" b="0" i="0" u="none" strike="noStrike" kern="0" cap="none" spc="0" normalizeH="0" baseline="0" noProof="0">
              <a:ln>
                <a:noFill/>
              </a:ln>
              <a:solidFill>
                <a:srgbClr val="FFFFFF"/>
              </a:solidFill>
              <a:effectLst/>
              <a:uLnTx/>
              <a:uFillTx/>
              <a:latin typeface="Arial"/>
              <a:cs typeface="Arial"/>
              <a:sym typeface="Arial"/>
            </a:endParaRPr>
          </a:p>
        </p:txBody>
      </p:sp>
      <p:cxnSp>
        <p:nvCxnSpPr>
          <p:cNvPr id="22" name="Straight Connector 21">
            <a:extLst>
              <a:ext uri="{FF2B5EF4-FFF2-40B4-BE49-F238E27FC236}">
                <a16:creationId xmlns:a16="http://schemas.microsoft.com/office/drawing/2014/main" id="{56417584-F4CD-489B-90C1-6EEAFC9708F8}"/>
              </a:ext>
            </a:extLst>
          </p:cNvPr>
          <p:cNvCxnSpPr>
            <a:cxnSpLocks/>
          </p:cNvCxnSpPr>
          <p:nvPr/>
        </p:nvCxnSpPr>
        <p:spPr>
          <a:xfrm>
            <a:off x="-4392" y="936183"/>
            <a:ext cx="95954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D5AF6EF-3C96-4303-AD24-9AFA1C28E79B}"/>
              </a:ext>
            </a:extLst>
          </p:cNvPr>
          <p:cNvSpPr txBox="1"/>
          <p:nvPr/>
        </p:nvSpPr>
        <p:spPr>
          <a:xfrm>
            <a:off x="3733800" y="6527812"/>
            <a:ext cx="4724400" cy="261610"/>
          </a:xfrm>
          <a:prstGeom prst="rect">
            <a:avLst/>
          </a:prstGeom>
          <a:noFill/>
        </p:spPr>
        <p:txBody>
          <a:bodyPr wrap="square" rtlCol="0">
            <a:spAutoFit/>
          </a:bodyPr>
          <a:lstStyle/>
          <a:p>
            <a:pPr algn="ctr"/>
            <a:r>
              <a:rPr lang="en-US" sz="1100" i="1" dirty="0">
                <a:solidFill>
                  <a:schemeClr val="tx1"/>
                </a:solidFill>
              </a:rPr>
              <a:t>- Last published June 2022 -</a:t>
            </a:r>
          </a:p>
        </p:txBody>
      </p:sp>
      <p:sp>
        <p:nvSpPr>
          <p:cNvPr id="5" name="Title 4">
            <a:extLst>
              <a:ext uri="{FF2B5EF4-FFF2-40B4-BE49-F238E27FC236}">
                <a16:creationId xmlns:a16="http://schemas.microsoft.com/office/drawing/2014/main" id="{F1C974B4-7A26-4ECA-BA8F-BD644EE9ED1E}"/>
              </a:ext>
            </a:extLst>
          </p:cNvPr>
          <p:cNvSpPr>
            <a:spLocks noGrp="1"/>
          </p:cNvSpPr>
          <p:nvPr>
            <p:ph type="title"/>
          </p:nvPr>
        </p:nvSpPr>
        <p:spPr>
          <a:xfrm>
            <a:off x="638355" y="341772"/>
            <a:ext cx="10938293" cy="855691"/>
          </a:xfrm>
        </p:spPr>
        <p:txBody>
          <a:bodyPr/>
          <a:lstStyle/>
          <a:p>
            <a:r>
              <a:rPr lang="en-US">
                <a:solidFill>
                  <a:schemeClr val="bg1"/>
                </a:solidFill>
              </a:rPr>
              <a:t>Modernization and Migration Challenges</a:t>
            </a:r>
          </a:p>
        </p:txBody>
      </p:sp>
      <p:sp>
        <p:nvSpPr>
          <p:cNvPr id="18" name="Oval 17">
            <a:extLst>
              <a:ext uri="{FF2B5EF4-FFF2-40B4-BE49-F238E27FC236}">
                <a16:creationId xmlns:a16="http://schemas.microsoft.com/office/drawing/2014/main" id="{2DA773D6-9F1E-48CD-8CE5-B8973BC19F57}"/>
              </a:ext>
            </a:extLst>
          </p:cNvPr>
          <p:cNvSpPr/>
          <p:nvPr/>
        </p:nvSpPr>
        <p:spPr>
          <a:xfrm>
            <a:off x="1397420" y="2563498"/>
            <a:ext cx="1772917" cy="1772917"/>
          </a:xfrm>
          <a:prstGeom prst="ellipse">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1DEA60D5-1B33-4A31-984F-2347FDB4F5D3}"/>
              </a:ext>
            </a:extLst>
          </p:cNvPr>
          <p:cNvSpPr/>
          <p:nvPr/>
        </p:nvSpPr>
        <p:spPr>
          <a:xfrm>
            <a:off x="3938302" y="2563498"/>
            <a:ext cx="1772917" cy="1772917"/>
          </a:xfrm>
          <a:prstGeom prst="ellipse">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A648881-CD00-44D4-8672-EAD90E99572C}"/>
              </a:ext>
            </a:extLst>
          </p:cNvPr>
          <p:cNvSpPr/>
          <p:nvPr/>
        </p:nvSpPr>
        <p:spPr>
          <a:xfrm>
            <a:off x="9020066" y="2563498"/>
            <a:ext cx="1772917" cy="1772917"/>
          </a:xfrm>
          <a:prstGeom prst="ellipse">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9A6E620F-B223-432C-9AE9-75C7FEEA88D5}"/>
              </a:ext>
            </a:extLst>
          </p:cNvPr>
          <p:cNvSpPr/>
          <p:nvPr/>
        </p:nvSpPr>
        <p:spPr>
          <a:xfrm>
            <a:off x="6479184" y="2563498"/>
            <a:ext cx="1772917" cy="1772917"/>
          </a:xfrm>
          <a:prstGeom prst="ellipse">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4359A45-6956-4DCE-BC3D-F0014BC631D1}"/>
              </a:ext>
            </a:extLst>
          </p:cNvPr>
          <p:cNvSpPr txBox="1"/>
          <p:nvPr/>
        </p:nvSpPr>
        <p:spPr>
          <a:xfrm>
            <a:off x="1027395" y="5341912"/>
            <a:ext cx="2514624" cy="523220"/>
          </a:xfrm>
          <a:prstGeom prst="rect">
            <a:avLst/>
          </a:prstGeom>
          <a:noFill/>
        </p:spPr>
        <p:txBody>
          <a:bodyPr wrap="square" rtlCol="0">
            <a:spAutoFit/>
          </a:bodyPr>
          <a:lstStyle/>
          <a:p>
            <a:pPr algn="ctr"/>
            <a:r>
              <a:rPr lang="en-US" b="1">
                <a:solidFill>
                  <a:srgbClr val="00498E"/>
                </a:solidFill>
              </a:rPr>
              <a:t>Stakeholder Identification and Support</a:t>
            </a:r>
          </a:p>
        </p:txBody>
      </p:sp>
      <p:sp>
        <p:nvSpPr>
          <p:cNvPr id="31" name="TextBox 30">
            <a:extLst>
              <a:ext uri="{FF2B5EF4-FFF2-40B4-BE49-F238E27FC236}">
                <a16:creationId xmlns:a16="http://schemas.microsoft.com/office/drawing/2014/main" id="{4CFB06E0-A109-4334-BF79-41B6B9FDC3A5}"/>
              </a:ext>
            </a:extLst>
          </p:cNvPr>
          <p:cNvSpPr txBox="1"/>
          <p:nvPr/>
        </p:nvSpPr>
        <p:spPr>
          <a:xfrm>
            <a:off x="3567448" y="5341912"/>
            <a:ext cx="2514624" cy="523220"/>
          </a:xfrm>
          <a:prstGeom prst="rect">
            <a:avLst/>
          </a:prstGeom>
          <a:noFill/>
        </p:spPr>
        <p:txBody>
          <a:bodyPr wrap="square" rtlCol="0">
            <a:spAutoFit/>
          </a:bodyPr>
          <a:lstStyle/>
          <a:p>
            <a:pPr algn="ctr"/>
            <a:r>
              <a:rPr lang="en-US" b="1">
                <a:solidFill>
                  <a:srgbClr val="00498E"/>
                </a:solidFill>
              </a:rPr>
              <a:t>Structured Planning Approach</a:t>
            </a:r>
          </a:p>
        </p:txBody>
      </p:sp>
      <p:sp>
        <p:nvSpPr>
          <p:cNvPr id="32" name="TextBox 31">
            <a:extLst>
              <a:ext uri="{FF2B5EF4-FFF2-40B4-BE49-F238E27FC236}">
                <a16:creationId xmlns:a16="http://schemas.microsoft.com/office/drawing/2014/main" id="{F1EE6415-72E6-4B31-AA20-E7ED8ADB2938}"/>
              </a:ext>
            </a:extLst>
          </p:cNvPr>
          <p:cNvSpPr txBox="1"/>
          <p:nvPr/>
        </p:nvSpPr>
        <p:spPr>
          <a:xfrm>
            <a:off x="6221507" y="5341912"/>
            <a:ext cx="2284024" cy="523220"/>
          </a:xfrm>
          <a:prstGeom prst="rect">
            <a:avLst/>
          </a:prstGeom>
          <a:noFill/>
        </p:spPr>
        <p:txBody>
          <a:bodyPr wrap="square" rtlCol="0">
            <a:spAutoFit/>
          </a:bodyPr>
          <a:lstStyle/>
          <a:p>
            <a:pPr algn="ctr"/>
            <a:r>
              <a:rPr lang="en-US" b="1">
                <a:solidFill>
                  <a:srgbClr val="00498E"/>
                </a:solidFill>
              </a:rPr>
              <a:t>Building a Strong Business Case </a:t>
            </a:r>
          </a:p>
        </p:txBody>
      </p:sp>
      <p:sp>
        <p:nvSpPr>
          <p:cNvPr id="33" name="TextBox 32">
            <a:extLst>
              <a:ext uri="{FF2B5EF4-FFF2-40B4-BE49-F238E27FC236}">
                <a16:creationId xmlns:a16="http://schemas.microsoft.com/office/drawing/2014/main" id="{B01AFF00-5F80-4E6B-AC02-0CD798047C80}"/>
              </a:ext>
            </a:extLst>
          </p:cNvPr>
          <p:cNvSpPr txBox="1"/>
          <p:nvPr/>
        </p:nvSpPr>
        <p:spPr>
          <a:xfrm>
            <a:off x="9224123" y="5341912"/>
            <a:ext cx="1445690" cy="523220"/>
          </a:xfrm>
          <a:prstGeom prst="rect">
            <a:avLst/>
          </a:prstGeom>
          <a:noFill/>
        </p:spPr>
        <p:txBody>
          <a:bodyPr wrap="square" rtlCol="0">
            <a:spAutoFit/>
          </a:bodyPr>
          <a:lstStyle/>
          <a:p>
            <a:pPr algn="ctr"/>
            <a:r>
              <a:rPr lang="en-US" b="1">
                <a:solidFill>
                  <a:srgbClr val="00498E"/>
                </a:solidFill>
              </a:rPr>
              <a:t>Avoiding Scope Creep</a:t>
            </a:r>
          </a:p>
        </p:txBody>
      </p:sp>
      <p:sp>
        <p:nvSpPr>
          <p:cNvPr id="11" name="Arc 10">
            <a:extLst>
              <a:ext uri="{FF2B5EF4-FFF2-40B4-BE49-F238E27FC236}">
                <a16:creationId xmlns:a16="http://schemas.microsoft.com/office/drawing/2014/main" id="{A9D72A5C-3374-423C-B238-8A5A6F00F807}"/>
              </a:ext>
            </a:extLst>
          </p:cNvPr>
          <p:cNvSpPr/>
          <p:nvPr/>
        </p:nvSpPr>
        <p:spPr>
          <a:xfrm rot="19235773">
            <a:off x="1190916" y="2291813"/>
            <a:ext cx="2190169" cy="2158522"/>
          </a:xfrm>
          <a:prstGeom prst="arc">
            <a:avLst>
              <a:gd name="adj1" fmla="val 13451780"/>
              <a:gd name="adj2" fmla="val 2044595"/>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sp>
        <p:nvSpPr>
          <p:cNvPr id="27" name="Arc 26">
            <a:extLst>
              <a:ext uri="{FF2B5EF4-FFF2-40B4-BE49-F238E27FC236}">
                <a16:creationId xmlns:a16="http://schemas.microsoft.com/office/drawing/2014/main" id="{29BA1F58-2F84-4501-9E7A-2689D6623355}"/>
              </a:ext>
            </a:extLst>
          </p:cNvPr>
          <p:cNvSpPr/>
          <p:nvPr/>
        </p:nvSpPr>
        <p:spPr>
          <a:xfrm rot="19235773">
            <a:off x="3729676" y="2299152"/>
            <a:ext cx="2190169" cy="2158522"/>
          </a:xfrm>
          <a:prstGeom prst="arc">
            <a:avLst>
              <a:gd name="adj1" fmla="val 13451780"/>
              <a:gd name="adj2" fmla="val 2044595"/>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sp>
        <p:nvSpPr>
          <p:cNvPr id="30" name="Arc 29">
            <a:extLst>
              <a:ext uri="{FF2B5EF4-FFF2-40B4-BE49-F238E27FC236}">
                <a16:creationId xmlns:a16="http://schemas.microsoft.com/office/drawing/2014/main" id="{24580B3E-15BC-49C3-8EFE-8272B4A540A5}"/>
              </a:ext>
            </a:extLst>
          </p:cNvPr>
          <p:cNvSpPr/>
          <p:nvPr/>
        </p:nvSpPr>
        <p:spPr>
          <a:xfrm rot="19235773">
            <a:off x="6268435" y="2291814"/>
            <a:ext cx="2190169" cy="2158522"/>
          </a:xfrm>
          <a:prstGeom prst="arc">
            <a:avLst>
              <a:gd name="adj1" fmla="val 13451780"/>
              <a:gd name="adj2" fmla="val 2044595"/>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sp>
        <p:nvSpPr>
          <p:cNvPr id="34" name="Arc 33">
            <a:extLst>
              <a:ext uri="{FF2B5EF4-FFF2-40B4-BE49-F238E27FC236}">
                <a16:creationId xmlns:a16="http://schemas.microsoft.com/office/drawing/2014/main" id="{18EC56EB-4984-4AC8-9AD4-A4D384DCA7BC}"/>
              </a:ext>
            </a:extLst>
          </p:cNvPr>
          <p:cNvSpPr/>
          <p:nvPr/>
        </p:nvSpPr>
        <p:spPr>
          <a:xfrm rot="19235773">
            <a:off x="8815678" y="2291814"/>
            <a:ext cx="2190169" cy="2158522"/>
          </a:xfrm>
          <a:prstGeom prst="arc">
            <a:avLst>
              <a:gd name="adj1" fmla="val 13451780"/>
              <a:gd name="adj2" fmla="val 2044595"/>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grpSp>
        <p:nvGrpSpPr>
          <p:cNvPr id="29" name="Group 28">
            <a:extLst>
              <a:ext uri="{FF2B5EF4-FFF2-40B4-BE49-F238E27FC236}">
                <a16:creationId xmlns:a16="http://schemas.microsoft.com/office/drawing/2014/main" id="{AF9E85A3-9A1D-4728-B5B1-70136C13B77E}"/>
              </a:ext>
            </a:extLst>
          </p:cNvPr>
          <p:cNvGrpSpPr/>
          <p:nvPr/>
        </p:nvGrpSpPr>
        <p:grpSpPr>
          <a:xfrm>
            <a:off x="1504808" y="2953137"/>
            <a:ext cx="1553901" cy="2141103"/>
            <a:chOff x="1504808" y="2804886"/>
            <a:chExt cx="1553901" cy="2141103"/>
          </a:xfrm>
        </p:grpSpPr>
        <p:cxnSp>
          <p:nvCxnSpPr>
            <p:cNvPr id="9" name="Straight Connector 8">
              <a:extLst>
                <a:ext uri="{FF2B5EF4-FFF2-40B4-BE49-F238E27FC236}">
                  <a16:creationId xmlns:a16="http://schemas.microsoft.com/office/drawing/2014/main" id="{905A83E3-2AAA-42B8-9F52-DCE758A544AE}"/>
                </a:ext>
              </a:extLst>
            </p:cNvPr>
            <p:cNvCxnSpPr>
              <a:cxnSpLocks/>
              <a:endCxn id="12" idx="0"/>
            </p:cNvCxnSpPr>
            <p:nvPr/>
          </p:nvCxnSpPr>
          <p:spPr>
            <a:xfrm flipH="1">
              <a:off x="2283878" y="4362308"/>
              <a:ext cx="1014" cy="4922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708ABAAF-B9D1-49F2-9003-D16C2E2E0D14}"/>
                </a:ext>
              </a:extLst>
            </p:cNvPr>
            <p:cNvSpPr/>
            <p:nvPr/>
          </p:nvSpPr>
          <p:spPr>
            <a:xfrm>
              <a:off x="2238158" y="485454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Arc 34">
              <a:extLst>
                <a:ext uri="{FF2B5EF4-FFF2-40B4-BE49-F238E27FC236}">
                  <a16:creationId xmlns:a16="http://schemas.microsoft.com/office/drawing/2014/main" id="{7326024E-1F54-4A92-9246-65F09726E893}"/>
                </a:ext>
              </a:extLst>
            </p:cNvPr>
            <p:cNvSpPr/>
            <p:nvPr/>
          </p:nvSpPr>
          <p:spPr>
            <a:xfrm rot="2800997" flipV="1">
              <a:off x="1507121" y="2802573"/>
              <a:ext cx="1549275" cy="1553901"/>
            </a:xfrm>
            <a:prstGeom prst="arc">
              <a:avLst>
                <a:gd name="adj1" fmla="val 16920395"/>
                <a:gd name="adj2" fmla="val 21127836"/>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grpSp>
      <p:grpSp>
        <p:nvGrpSpPr>
          <p:cNvPr id="14" name="Group 13">
            <a:extLst>
              <a:ext uri="{FF2B5EF4-FFF2-40B4-BE49-F238E27FC236}">
                <a16:creationId xmlns:a16="http://schemas.microsoft.com/office/drawing/2014/main" id="{D07433F1-C717-4A69-AEED-910611811922}"/>
              </a:ext>
            </a:extLst>
          </p:cNvPr>
          <p:cNvGrpSpPr/>
          <p:nvPr/>
        </p:nvGrpSpPr>
        <p:grpSpPr>
          <a:xfrm>
            <a:off x="4059878" y="2953137"/>
            <a:ext cx="1553901" cy="2141103"/>
            <a:chOff x="1657208" y="2957286"/>
            <a:chExt cx="1553901" cy="2141103"/>
          </a:xfrm>
        </p:grpSpPr>
        <p:cxnSp>
          <p:nvCxnSpPr>
            <p:cNvPr id="36" name="Straight Connector 35">
              <a:extLst>
                <a:ext uri="{FF2B5EF4-FFF2-40B4-BE49-F238E27FC236}">
                  <a16:creationId xmlns:a16="http://schemas.microsoft.com/office/drawing/2014/main" id="{CC3B75E6-46B8-4743-8A52-D515636436B9}"/>
                </a:ext>
              </a:extLst>
            </p:cNvPr>
            <p:cNvCxnSpPr>
              <a:cxnSpLocks/>
              <a:endCxn id="37" idx="0"/>
            </p:cNvCxnSpPr>
            <p:nvPr/>
          </p:nvCxnSpPr>
          <p:spPr>
            <a:xfrm flipH="1">
              <a:off x="2436278" y="4514708"/>
              <a:ext cx="1014" cy="4922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1CE0450F-D655-4940-AE10-E453F4C5665B}"/>
                </a:ext>
              </a:extLst>
            </p:cNvPr>
            <p:cNvSpPr/>
            <p:nvPr/>
          </p:nvSpPr>
          <p:spPr>
            <a:xfrm>
              <a:off x="2390558" y="500694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c 37">
              <a:extLst>
                <a:ext uri="{FF2B5EF4-FFF2-40B4-BE49-F238E27FC236}">
                  <a16:creationId xmlns:a16="http://schemas.microsoft.com/office/drawing/2014/main" id="{4715F44C-AA8A-465A-A51E-50AFBE5ABBF0}"/>
                </a:ext>
              </a:extLst>
            </p:cNvPr>
            <p:cNvSpPr/>
            <p:nvPr/>
          </p:nvSpPr>
          <p:spPr>
            <a:xfrm rot="2800997" flipV="1">
              <a:off x="1659521" y="2954973"/>
              <a:ext cx="1549275" cy="1553901"/>
            </a:xfrm>
            <a:prstGeom prst="arc">
              <a:avLst>
                <a:gd name="adj1" fmla="val 16920395"/>
                <a:gd name="adj2" fmla="val 21127836"/>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grpSp>
      <p:grpSp>
        <p:nvGrpSpPr>
          <p:cNvPr id="16" name="Group 15">
            <a:extLst>
              <a:ext uri="{FF2B5EF4-FFF2-40B4-BE49-F238E27FC236}">
                <a16:creationId xmlns:a16="http://schemas.microsoft.com/office/drawing/2014/main" id="{6127C8E5-0F09-490B-A1B9-0A00EBF7ABC6}"/>
              </a:ext>
            </a:extLst>
          </p:cNvPr>
          <p:cNvGrpSpPr/>
          <p:nvPr/>
        </p:nvGrpSpPr>
        <p:grpSpPr>
          <a:xfrm>
            <a:off x="6614948" y="2953137"/>
            <a:ext cx="1553901" cy="2141103"/>
            <a:chOff x="1657208" y="2957286"/>
            <a:chExt cx="1553901" cy="2141103"/>
          </a:xfrm>
        </p:grpSpPr>
        <p:cxnSp>
          <p:nvCxnSpPr>
            <p:cNvPr id="39" name="Straight Connector 38">
              <a:extLst>
                <a:ext uri="{FF2B5EF4-FFF2-40B4-BE49-F238E27FC236}">
                  <a16:creationId xmlns:a16="http://schemas.microsoft.com/office/drawing/2014/main" id="{8F9CE9BA-5A9B-4845-80A7-0E81CF2E1160}"/>
                </a:ext>
              </a:extLst>
            </p:cNvPr>
            <p:cNvCxnSpPr>
              <a:cxnSpLocks/>
              <a:endCxn id="40" idx="0"/>
            </p:cNvCxnSpPr>
            <p:nvPr/>
          </p:nvCxnSpPr>
          <p:spPr>
            <a:xfrm flipH="1">
              <a:off x="2436278" y="4514708"/>
              <a:ext cx="1014" cy="4922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162BFE49-9966-48FE-AFD6-C9B35D338E36}"/>
                </a:ext>
              </a:extLst>
            </p:cNvPr>
            <p:cNvSpPr/>
            <p:nvPr/>
          </p:nvSpPr>
          <p:spPr>
            <a:xfrm>
              <a:off x="2390558" y="500694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Arc 40">
              <a:extLst>
                <a:ext uri="{FF2B5EF4-FFF2-40B4-BE49-F238E27FC236}">
                  <a16:creationId xmlns:a16="http://schemas.microsoft.com/office/drawing/2014/main" id="{93834BF1-2346-4EBB-A2A2-BAE07665CD83}"/>
                </a:ext>
              </a:extLst>
            </p:cNvPr>
            <p:cNvSpPr/>
            <p:nvPr/>
          </p:nvSpPr>
          <p:spPr>
            <a:xfrm rot="2800997" flipV="1">
              <a:off x="1659521" y="2954973"/>
              <a:ext cx="1549275" cy="1553901"/>
            </a:xfrm>
            <a:prstGeom prst="arc">
              <a:avLst>
                <a:gd name="adj1" fmla="val 16920395"/>
                <a:gd name="adj2" fmla="val 21127836"/>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grpSp>
      <p:grpSp>
        <p:nvGrpSpPr>
          <p:cNvPr id="21" name="Group 20">
            <a:extLst>
              <a:ext uri="{FF2B5EF4-FFF2-40B4-BE49-F238E27FC236}">
                <a16:creationId xmlns:a16="http://schemas.microsoft.com/office/drawing/2014/main" id="{896A688F-AE35-4531-AF86-F8FB30E1FB24}"/>
              </a:ext>
            </a:extLst>
          </p:cNvPr>
          <p:cNvGrpSpPr/>
          <p:nvPr/>
        </p:nvGrpSpPr>
        <p:grpSpPr>
          <a:xfrm>
            <a:off x="9170018" y="2953137"/>
            <a:ext cx="1553901" cy="2141103"/>
            <a:chOff x="1657208" y="2957286"/>
            <a:chExt cx="1553901" cy="2141103"/>
          </a:xfrm>
        </p:grpSpPr>
        <p:cxnSp>
          <p:nvCxnSpPr>
            <p:cNvPr id="42" name="Straight Connector 41">
              <a:extLst>
                <a:ext uri="{FF2B5EF4-FFF2-40B4-BE49-F238E27FC236}">
                  <a16:creationId xmlns:a16="http://schemas.microsoft.com/office/drawing/2014/main" id="{3B47B36A-0A7D-4062-88DB-AA48C6AFA724}"/>
                </a:ext>
              </a:extLst>
            </p:cNvPr>
            <p:cNvCxnSpPr>
              <a:cxnSpLocks/>
              <a:endCxn id="43" idx="0"/>
            </p:cNvCxnSpPr>
            <p:nvPr/>
          </p:nvCxnSpPr>
          <p:spPr>
            <a:xfrm flipH="1">
              <a:off x="2436278" y="4514708"/>
              <a:ext cx="1014" cy="4922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9E543433-F333-4D72-90C0-78D1B1A1F35C}"/>
                </a:ext>
              </a:extLst>
            </p:cNvPr>
            <p:cNvSpPr/>
            <p:nvPr/>
          </p:nvSpPr>
          <p:spPr>
            <a:xfrm>
              <a:off x="2390558" y="500694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c 43">
              <a:extLst>
                <a:ext uri="{FF2B5EF4-FFF2-40B4-BE49-F238E27FC236}">
                  <a16:creationId xmlns:a16="http://schemas.microsoft.com/office/drawing/2014/main" id="{E790897B-F19C-417E-B9F9-C18EBCCBA5DA}"/>
                </a:ext>
              </a:extLst>
            </p:cNvPr>
            <p:cNvSpPr/>
            <p:nvPr/>
          </p:nvSpPr>
          <p:spPr>
            <a:xfrm rot="2800997" flipV="1">
              <a:off x="1659521" y="2954973"/>
              <a:ext cx="1549275" cy="1553901"/>
            </a:xfrm>
            <a:prstGeom prst="arc">
              <a:avLst>
                <a:gd name="adj1" fmla="val 16920395"/>
                <a:gd name="adj2" fmla="val 21127836"/>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grpSp>
      <p:pic>
        <p:nvPicPr>
          <p:cNvPr id="49" name="Picture 48" descr="Icon&#10;&#10;Description automatically generated">
            <a:extLst>
              <a:ext uri="{FF2B5EF4-FFF2-40B4-BE49-F238E27FC236}">
                <a16:creationId xmlns:a16="http://schemas.microsoft.com/office/drawing/2014/main" id="{76853192-BF6A-434A-B90C-859EF5A869E9}"/>
              </a:ext>
            </a:extLst>
          </p:cNvPr>
          <p:cNvPicPr>
            <a:picLocks noChangeAspect="1"/>
          </p:cNvPicPr>
          <p:nvPr/>
        </p:nvPicPr>
        <p:blipFill>
          <a:blip r:embed="rId4"/>
          <a:stretch>
            <a:fillRect/>
          </a:stretch>
        </p:blipFill>
        <p:spPr>
          <a:xfrm>
            <a:off x="1699645" y="2865723"/>
            <a:ext cx="1168467" cy="1168467"/>
          </a:xfrm>
          <a:prstGeom prst="rect">
            <a:avLst/>
          </a:prstGeom>
        </p:spPr>
      </p:pic>
      <p:sp>
        <p:nvSpPr>
          <p:cNvPr id="45" name="Oval 44">
            <a:extLst>
              <a:ext uri="{FF2B5EF4-FFF2-40B4-BE49-F238E27FC236}">
                <a16:creationId xmlns:a16="http://schemas.microsoft.com/office/drawing/2014/main" id="{8EA93906-6AFE-4DF5-95DC-567E55048330}"/>
              </a:ext>
            </a:extLst>
          </p:cNvPr>
          <p:cNvSpPr/>
          <p:nvPr/>
        </p:nvSpPr>
        <p:spPr>
          <a:xfrm>
            <a:off x="1414149" y="2587193"/>
            <a:ext cx="1737360" cy="1737360"/>
          </a:xfrm>
          <a:prstGeom prst="ellipse">
            <a:avLst/>
          </a:prstGeom>
          <a:no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31B1EC1-22B8-4FEF-B1B5-ED798819D2E8}"/>
              </a:ext>
            </a:extLst>
          </p:cNvPr>
          <p:cNvSpPr/>
          <p:nvPr/>
        </p:nvSpPr>
        <p:spPr>
          <a:xfrm>
            <a:off x="3956080" y="2581276"/>
            <a:ext cx="1737360" cy="1737360"/>
          </a:xfrm>
          <a:prstGeom prst="ellipse">
            <a:avLst/>
          </a:prstGeom>
          <a:no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10FAABB8-DCBB-412F-B2FB-63D9B5EB2AED}"/>
              </a:ext>
            </a:extLst>
          </p:cNvPr>
          <p:cNvSpPr/>
          <p:nvPr/>
        </p:nvSpPr>
        <p:spPr>
          <a:xfrm>
            <a:off x="6496962" y="2581276"/>
            <a:ext cx="1737360" cy="1737360"/>
          </a:xfrm>
          <a:prstGeom prst="ellipse">
            <a:avLst/>
          </a:prstGeom>
          <a:no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55F83412-7B9E-4ED7-9C00-4DEFC880A150}"/>
              </a:ext>
            </a:extLst>
          </p:cNvPr>
          <p:cNvSpPr/>
          <p:nvPr/>
        </p:nvSpPr>
        <p:spPr>
          <a:xfrm>
            <a:off x="9037844" y="2581276"/>
            <a:ext cx="1737360" cy="1737360"/>
          </a:xfrm>
          <a:prstGeom prst="ellipse">
            <a:avLst/>
          </a:prstGeom>
          <a:no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Icon&#10;&#10;Description automatically generated">
            <a:extLst>
              <a:ext uri="{FF2B5EF4-FFF2-40B4-BE49-F238E27FC236}">
                <a16:creationId xmlns:a16="http://schemas.microsoft.com/office/drawing/2014/main" id="{11CA723C-C5A4-447F-AA5B-DE0001CB10A3}"/>
              </a:ext>
            </a:extLst>
          </p:cNvPr>
          <p:cNvPicPr>
            <a:picLocks noChangeAspect="1"/>
          </p:cNvPicPr>
          <p:nvPr/>
        </p:nvPicPr>
        <p:blipFill>
          <a:blip r:embed="rId5"/>
          <a:stretch>
            <a:fillRect/>
          </a:stretch>
        </p:blipFill>
        <p:spPr>
          <a:xfrm>
            <a:off x="9321308" y="2864740"/>
            <a:ext cx="1170432" cy="1170432"/>
          </a:xfrm>
          <a:prstGeom prst="rect">
            <a:avLst/>
          </a:prstGeom>
        </p:spPr>
      </p:pic>
      <p:pic>
        <p:nvPicPr>
          <p:cNvPr id="13" name="Picture 12" descr="Icon&#10;&#10;Description automatically generated">
            <a:extLst>
              <a:ext uri="{FF2B5EF4-FFF2-40B4-BE49-F238E27FC236}">
                <a16:creationId xmlns:a16="http://schemas.microsoft.com/office/drawing/2014/main" id="{7D6274F3-256A-4120-84C2-5BF0D4EDDEE4}"/>
              </a:ext>
            </a:extLst>
          </p:cNvPr>
          <p:cNvPicPr>
            <a:picLocks noChangeAspect="1"/>
          </p:cNvPicPr>
          <p:nvPr/>
        </p:nvPicPr>
        <p:blipFill>
          <a:blip r:embed="rId6"/>
          <a:stretch>
            <a:fillRect/>
          </a:stretch>
        </p:blipFill>
        <p:spPr>
          <a:xfrm>
            <a:off x="6775854" y="2860168"/>
            <a:ext cx="1179576" cy="1179576"/>
          </a:xfrm>
          <a:prstGeom prst="rect">
            <a:avLst/>
          </a:prstGeom>
        </p:spPr>
      </p:pic>
      <p:pic>
        <p:nvPicPr>
          <p:cNvPr id="51" name="Picture 50" descr="Icon&#10;&#10;Description automatically generated">
            <a:extLst>
              <a:ext uri="{FF2B5EF4-FFF2-40B4-BE49-F238E27FC236}">
                <a16:creationId xmlns:a16="http://schemas.microsoft.com/office/drawing/2014/main" id="{620ECC44-60CF-4CCD-86F9-9FC16683A9B0}"/>
              </a:ext>
            </a:extLst>
          </p:cNvPr>
          <p:cNvPicPr>
            <a:picLocks noChangeAspect="1"/>
          </p:cNvPicPr>
          <p:nvPr/>
        </p:nvPicPr>
        <p:blipFill>
          <a:blip r:embed="rId7"/>
          <a:stretch>
            <a:fillRect/>
          </a:stretch>
        </p:blipFill>
        <p:spPr>
          <a:xfrm>
            <a:off x="4257942" y="2883138"/>
            <a:ext cx="1133637" cy="1133637"/>
          </a:xfrm>
          <a:prstGeom prst="rect">
            <a:avLst/>
          </a:prstGeom>
        </p:spPr>
      </p:pic>
    </p:spTree>
    <p:extLst>
      <p:ext uri="{BB962C8B-B14F-4D97-AF65-F5344CB8AC3E}">
        <p14:creationId xmlns:p14="http://schemas.microsoft.com/office/powerpoint/2010/main" val="4214429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48DE9330-1FB6-4AE5-8F13-608E2EB12611}"/>
              </a:ext>
            </a:extLst>
          </p:cNvPr>
          <p:cNvGrpSpPr/>
          <p:nvPr/>
        </p:nvGrpSpPr>
        <p:grpSpPr>
          <a:xfrm>
            <a:off x="-29207" y="-24958"/>
            <a:ext cx="12246693" cy="6907916"/>
            <a:chOff x="-29192" y="-24958"/>
            <a:chExt cx="12232747" cy="6907916"/>
          </a:xfrm>
        </p:grpSpPr>
        <p:sp>
          <p:nvSpPr>
            <p:cNvPr id="7" name="Rectangle 6">
              <a:extLst>
                <a:ext uri="{FF2B5EF4-FFF2-40B4-BE49-F238E27FC236}">
                  <a16:creationId xmlns:a16="http://schemas.microsoft.com/office/drawing/2014/main" id="{D699E8FD-3FF5-4694-90A1-AD3766E1C2E0}"/>
                </a:ext>
              </a:extLst>
            </p:cNvPr>
            <p:cNvSpPr/>
            <p:nvPr/>
          </p:nvSpPr>
          <p:spPr>
            <a:xfrm>
              <a:off x="0" y="0"/>
              <a:ext cx="12192000" cy="6858000"/>
            </a:xfrm>
            <a:prstGeom prst="rect">
              <a:avLst/>
            </a:prstGeom>
            <a:solidFill>
              <a:srgbClr val="005087"/>
            </a:solidFill>
            <a:ln>
              <a:solidFill>
                <a:srgbClr val="0050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6" name="Picture 5">
              <a:extLst>
                <a:ext uri="{FF2B5EF4-FFF2-40B4-BE49-F238E27FC236}">
                  <a16:creationId xmlns:a16="http://schemas.microsoft.com/office/drawing/2014/main" id="{323D5DCE-91C0-4554-A584-2EEE85516A17}"/>
                </a:ext>
              </a:extLst>
            </p:cNvPr>
            <p:cNvPicPr>
              <a:picLocks noChangeAspect="1"/>
            </p:cNvPicPr>
            <p:nvPr/>
          </p:nvPicPr>
          <p:blipFill>
            <a:blip r:embed="rId2"/>
            <a:stretch>
              <a:fillRect/>
            </a:stretch>
          </p:blipFill>
          <p:spPr>
            <a:xfrm>
              <a:off x="-29192" y="-24958"/>
              <a:ext cx="12232747" cy="6907916"/>
            </a:xfrm>
            <a:prstGeom prst="rect">
              <a:avLst/>
            </a:prstGeom>
          </p:spPr>
        </p:pic>
      </p:grpSp>
      <p:sp>
        <p:nvSpPr>
          <p:cNvPr id="2" name="Slide Number Placeholder 1">
            <a:extLst>
              <a:ext uri="{FF2B5EF4-FFF2-40B4-BE49-F238E27FC236}">
                <a16:creationId xmlns:a16="http://schemas.microsoft.com/office/drawing/2014/main" id="{1626865A-2938-4266-AE69-6F8D147F0B64}"/>
              </a:ext>
            </a:extLst>
          </p:cNvPr>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 sz="1200" b="1" i="0" u="none" strike="noStrike" kern="0" cap="none" spc="0" normalizeH="0" baseline="0" noProof="0" dirty="0">
              <a:ln>
                <a:noFill/>
              </a:ln>
              <a:solidFill>
                <a:srgbClr val="FFFFFF"/>
              </a:solidFill>
              <a:effectLst/>
              <a:uLnTx/>
              <a:uFillTx/>
              <a:latin typeface="Arial"/>
              <a:cs typeface="Arial"/>
              <a:sym typeface="Arial"/>
            </a:endParaRPr>
          </a:p>
        </p:txBody>
      </p:sp>
      <p:sp>
        <p:nvSpPr>
          <p:cNvPr id="3" name="Footer Placeholder 2">
            <a:extLst>
              <a:ext uri="{FF2B5EF4-FFF2-40B4-BE49-F238E27FC236}">
                <a16:creationId xmlns:a16="http://schemas.microsoft.com/office/drawing/2014/main" id="{96814683-17BA-4ED1-9821-F2D318E0FCF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dirty="0">
                <a:ln>
                  <a:noFill/>
                </a:ln>
                <a:solidFill>
                  <a:srgbClr val="FFFFFF"/>
                </a:solidFill>
                <a:effectLst/>
                <a:uLnTx/>
                <a:uFillTx/>
                <a:latin typeface="Arial"/>
                <a:cs typeface="Arial"/>
                <a:sym typeface="Arial"/>
              </a:rPr>
              <a:t>M3 Playbook Orientation</a:t>
            </a:r>
          </a:p>
        </p:txBody>
      </p:sp>
      <p:sp>
        <p:nvSpPr>
          <p:cNvPr id="5" name="Title 4">
            <a:extLst>
              <a:ext uri="{FF2B5EF4-FFF2-40B4-BE49-F238E27FC236}">
                <a16:creationId xmlns:a16="http://schemas.microsoft.com/office/drawing/2014/main" id="{4EB248F1-E6B4-4946-9965-6BDEF1E2F0AF}"/>
              </a:ext>
            </a:extLst>
          </p:cNvPr>
          <p:cNvSpPr>
            <a:spLocks noGrp="1"/>
          </p:cNvSpPr>
          <p:nvPr>
            <p:ph type="title"/>
          </p:nvPr>
        </p:nvSpPr>
        <p:spPr>
          <a:xfrm>
            <a:off x="638355" y="338175"/>
            <a:ext cx="10938293" cy="855691"/>
          </a:xfrm>
        </p:spPr>
        <p:txBody>
          <a:bodyPr>
            <a:normAutofit/>
          </a:bodyPr>
          <a:lstStyle/>
          <a:p>
            <a:r>
              <a:rPr lang="en-US" dirty="0">
                <a:solidFill>
                  <a:schemeClr val="bg1"/>
                </a:solidFill>
              </a:rPr>
              <a:t>M3 Framework Introduction - Video </a:t>
            </a:r>
          </a:p>
        </p:txBody>
      </p:sp>
      <p:cxnSp>
        <p:nvCxnSpPr>
          <p:cNvPr id="8" name="Straight Connector 7">
            <a:extLst>
              <a:ext uri="{FF2B5EF4-FFF2-40B4-BE49-F238E27FC236}">
                <a16:creationId xmlns:a16="http://schemas.microsoft.com/office/drawing/2014/main" id="{4EDC759D-3303-48E3-9242-431A923E5FF4}"/>
              </a:ext>
            </a:extLst>
          </p:cNvPr>
          <p:cNvCxnSpPr>
            <a:cxnSpLocks/>
          </p:cNvCxnSpPr>
          <p:nvPr/>
        </p:nvCxnSpPr>
        <p:spPr>
          <a:xfrm>
            <a:off x="638355" y="936183"/>
            <a:ext cx="1156756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C9C7E34-34D1-4189-A413-DF46C515D779}"/>
              </a:ext>
            </a:extLst>
          </p:cNvPr>
          <p:cNvSpPr txBox="1"/>
          <p:nvPr/>
        </p:nvSpPr>
        <p:spPr>
          <a:xfrm>
            <a:off x="3733800" y="6527812"/>
            <a:ext cx="47244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1" u="none" strike="noStrike" kern="0" cap="none" spc="0" normalizeH="0" baseline="0" noProof="0" dirty="0">
                <a:ln>
                  <a:noFill/>
                </a:ln>
                <a:solidFill>
                  <a:srgbClr val="FFFFFF"/>
                </a:solidFill>
                <a:effectLst/>
                <a:uLnTx/>
                <a:uFillTx/>
                <a:latin typeface="Arial"/>
                <a:cs typeface="Arial"/>
                <a:sym typeface="Arial"/>
              </a:rPr>
              <a:t> - Last published June 2022 -</a:t>
            </a:r>
          </a:p>
        </p:txBody>
      </p:sp>
      <p:sp>
        <p:nvSpPr>
          <p:cNvPr id="15" name="Text Placeholder 7">
            <a:extLst>
              <a:ext uri="{FF2B5EF4-FFF2-40B4-BE49-F238E27FC236}">
                <a16:creationId xmlns:a16="http://schemas.microsoft.com/office/drawing/2014/main" id="{2D3B85F1-CCC9-4FC3-81E3-4D4547B1DCB1}"/>
              </a:ext>
            </a:extLst>
          </p:cNvPr>
          <p:cNvSpPr>
            <a:spLocks noGrp="1"/>
          </p:cNvSpPr>
          <p:nvPr>
            <p:ph type="body" sz="quarter" idx="12"/>
          </p:nvPr>
        </p:nvSpPr>
        <p:spPr>
          <a:xfrm>
            <a:off x="638355" y="1108490"/>
            <a:ext cx="10938292" cy="1263650"/>
          </a:xfrm>
        </p:spPr>
        <p:txBody>
          <a:bodyPr>
            <a:noAutofit/>
          </a:bodyPr>
          <a:lstStyle/>
          <a:p>
            <a:r>
              <a:rPr lang="en-US" sz="1600" dirty="0">
                <a:solidFill>
                  <a:schemeClr val="bg1"/>
                </a:solidFill>
                <a:latin typeface="+mn-lt"/>
              </a:rPr>
              <a:t>Please click the play button on the laptop screen below to further </a:t>
            </a:r>
            <a:r>
              <a:rPr lang="en-US" sz="1600">
                <a:solidFill>
                  <a:schemeClr val="bg1"/>
                </a:solidFill>
                <a:latin typeface="+mn-lt"/>
              </a:rPr>
              <a:t>familiarize</a:t>
            </a:r>
            <a:r>
              <a:rPr lang="en-US" sz="1600" dirty="0">
                <a:solidFill>
                  <a:schemeClr val="bg1"/>
                </a:solidFill>
                <a:latin typeface="+mn-lt"/>
              </a:rPr>
              <a:t> yourself with the M3 Framework.</a:t>
            </a:r>
          </a:p>
        </p:txBody>
      </p:sp>
      <p:pic>
        <p:nvPicPr>
          <p:cNvPr id="14" name="Picture 13">
            <a:hlinkClick r:id="rId3"/>
            <a:extLst>
              <a:ext uri="{FF2B5EF4-FFF2-40B4-BE49-F238E27FC236}">
                <a16:creationId xmlns:a16="http://schemas.microsoft.com/office/drawing/2014/main" id="{9CAAE58E-74B4-47D1-9AEB-DBFF5F960C38}"/>
              </a:ext>
            </a:extLst>
          </p:cNvPr>
          <p:cNvPicPr>
            <a:picLocks noChangeAspect="1"/>
          </p:cNvPicPr>
          <p:nvPr/>
        </p:nvPicPr>
        <p:blipFill>
          <a:blip r:embed="rId4"/>
          <a:stretch>
            <a:fillRect/>
          </a:stretch>
        </p:blipFill>
        <p:spPr>
          <a:xfrm>
            <a:off x="1279743" y="1566192"/>
            <a:ext cx="9632515" cy="4907705"/>
          </a:xfrm>
          <a:prstGeom prst="rect">
            <a:avLst/>
          </a:prstGeom>
        </p:spPr>
      </p:pic>
      <p:grpSp>
        <p:nvGrpSpPr>
          <p:cNvPr id="19" name="Group 18">
            <a:extLst>
              <a:ext uri="{FF2B5EF4-FFF2-40B4-BE49-F238E27FC236}">
                <a16:creationId xmlns:a16="http://schemas.microsoft.com/office/drawing/2014/main" id="{3B8391DF-CA0C-49B6-BC34-AF0A92CAF6B0}"/>
              </a:ext>
            </a:extLst>
          </p:cNvPr>
          <p:cNvGrpSpPr/>
          <p:nvPr/>
        </p:nvGrpSpPr>
        <p:grpSpPr>
          <a:xfrm>
            <a:off x="5364480" y="3288524"/>
            <a:ext cx="1463040" cy="1463040"/>
            <a:chOff x="7531100" y="3250950"/>
            <a:chExt cx="1463040" cy="1463040"/>
          </a:xfrm>
        </p:grpSpPr>
        <p:sp>
          <p:nvSpPr>
            <p:cNvPr id="18" name="Oval 17">
              <a:hlinkClick r:id="rId3"/>
              <a:extLst>
                <a:ext uri="{FF2B5EF4-FFF2-40B4-BE49-F238E27FC236}">
                  <a16:creationId xmlns:a16="http://schemas.microsoft.com/office/drawing/2014/main" id="{1A9D36EE-57BE-4399-A678-1F8C51660A46}"/>
                </a:ext>
              </a:extLst>
            </p:cNvPr>
            <p:cNvSpPr/>
            <p:nvPr/>
          </p:nvSpPr>
          <p:spPr>
            <a:xfrm>
              <a:off x="7531100" y="3250950"/>
              <a:ext cx="1463040" cy="1463040"/>
            </a:xfrm>
            <a:prstGeom prst="ellipse">
              <a:avLst/>
            </a:prstGeom>
            <a:solidFill>
              <a:srgbClr val="E6E6E6">
                <a:alpha val="89000"/>
              </a:srgbClr>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17" name="Graphic 16" descr="Play">
              <a:hlinkClick r:id="rId3"/>
              <a:extLst>
                <a:ext uri="{FF2B5EF4-FFF2-40B4-BE49-F238E27FC236}">
                  <a16:creationId xmlns:a16="http://schemas.microsoft.com/office/drawing/2014/main" id="{A151780B-C0C7-48DA-9AC5-539EE988EB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56220" y="3525270"/>
              <a:ext cx="914400" cy="914400"/>
            </a:xfrm>
            <a:prstGeom prst="rect">
              <a:avLst/>
            </a:prstGeom>
          </p:spPr>
        </p:pic>
      </p:grpSp>
    </p:spTree>
    <p:extLst>
      <p:ext uri="{BB962C8B-B14F-4D97-AF65-F5344CB8AC3E}">
        <p14:creationId xmlns:p14="http://schemas.microsoft.com/office/powerpoint/2010/main" val="323960786"/>
      </p:ext>
    </p:extLst>
  </p:cSld>
  <p:clrMapOvr>
    <a:masterClrMapping/>
  </p:clrMapOvr>
  <p:timing>
    <p:tnLst>
      <p:par>
        <p:cTn id="1" dur="indefinite" restart="never" nodeType="tmRoot">
          <p:childTnLst>
            <p:par>
              <p:cTn id="2"/>
            </p:par>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05B919-C09B-4FA6-9443-C315514307C4}"/>
              </a:ext>
            </a:extLst>
          </p:cNvPr>
          <p:cNvSpPr/>
          <p:nvPr/>
        </p:nvSpPr>
        <p:spPr>
          <a:xfrm>
            <a:off x="530352" y="6144768"/>
            <a:ext cx="1261872" cy="602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16D43D98-4DE9-4BA6-ACA1-1F149275B94B}"/>
              </a:ext>
            </a:extLst>
          </p:cNvPr>
          <p:cNvSpPr>
            <a:spLocks noGrp="1"/>
          </p:cNvSpPr>
          <p:nvPr>
            <p:ph type="sldNum" idx="10"/>
          </p:nvPr>
        </p:nvSpPr>
        <p:spPr/>
        <p:txBody>
          <a:bodyPr/>
          <a:lstStyle/>
          <a:p>
            <a:fld id="{00000000-1234-1234-1234-123412341234}" type="slidenum">
              <a:rPr lang="en" smtClean="0"/>
              <a:pPr/>
              <a:t>5</a:t>
            </a:fld>
            <a:endParaRPr lang="en"/>
          </a:p>
        </p:txBody>
      </p:sp>
      <p:sp>
        <p:nvSpPr>
          <p:cNvPr id="3" name="Footer Placeholder 2">
            <a:extLst>
              <a:ext uri="{FF2B5EF4-FFF2-40B4-BE49-F238E27FC236}">
                <a16:creationId xmlns:a16="http://schemas.microsoft.com/office/drawing/2014/main" id="{4A4B8B6C-E453-44B2-BED9-F2B8F1C6B388}"/>
              </a:ext>
            </a:extLst>
          </p:cNvPr>
          <p:cNvSpPr>
            <a:spLocks noGrp="1"/>
          </p:cNvSpPr>
          <p:nvPr>
            <p:ph type="ftr" sz="quarter" idx="11"/>
          </p:nvPr>
        </p:nvSpPr>
        <p:spPr/>
        <p:txBody>
          <a:bodyPr/>
          <a:lstStyle/>
          <a:p>
            <a:pPr lvl="0">
              <a:defRPr/>
            </a:pPr>
            <a:r>
              <a:rPr lang="en-US"/>
              <a:t>M3 Playbook Orientation</a:t>
            </a:r>
          </a:p>
        </p:txBody>
      </p:sp>
      <p:sp>
        <p:nvSpPr>
          <p:cNvPr id="5" name="Title 4">
            <a:extLst>
              <a:ext uri="{FF2B5EF4-FFF2-40B4-BE49-F238E27FC236}">
                <a16:creationId xmlns:a16="http://schemas.microsoft.com/office/drawing/2014/main" id="{815B8620-B818-48E2-B90E-BBF1527C53A0}"/>
              </a:ext>
            </a:extLst>
          </p:cNvPr>
          <p:cNvSpPr>
            <a:spLocks noGrp="1"/>
          </p:cNvSpPr>
          <p:nvPr>
            <p:ph type="title"/>
          </p:nvPr>
        </p:nvSpPr>
        <p:spPr>
          <a:xfrm>
            <a:off x="638355" y="323481"/>
            <a:ext cx="10938293" cy="855691"/>
          </a:xfrm>
        </p:spPr>
        <p:txBody>
          <a:bodyPr>
            <a:noAutofit/>
          </a:bodyPr>
          <a:lstStyle/>
          <a:p>
            <a:r>
              <a:rPr lang="en-US"/>
              <a:t>M3 Framework Introduction</a:t>
            </a:r>
          </a:p>
        </p:txBody>
      </p:sp>
      <p:sp>
        <p:nvSpPr>
          <p:cNvPr id="8" name="Text Placeholder 7">
            <a:extLst>
              <a:ext uri="{FF2B5EF4-FFF2-40B4-BE49-F238E27FC236}">
                <a16:creationId xmlns:a16="http://schemas.microsoft.com/office/drawing/2014/main" id="{7EBFC3E1-166A-4E91-A229-FC4E49261FE9}"/>
              </a:ext>
            </a:extLst>
          </p:cNvPr>
          <p:cNvSpPr>
            <a:spLocks noGrp="1"/>
          </p:cNvSpPr>
          <p:nvPr>
            <p:ph type="body" sz="quarter" idx="12"/>
          </p:nvPr>
        </p:nvSpPr>
        <p:spPr>
          <a:xfrm>
            <a:off x="639764" y="1123127"/>
            <a:ext cx="10936884" cy="4356336"/>
          </a:xfrm>
        </p:spPr>
        <p:txBody>
          <a:bodyPr>
            <a:normAutofit/>
          </a:bodyPr>
          <a:lstStyle/>
          <a:p>
            <a:r>
              <a:rPr lang="en-US" sz="1600"/>
              <a:t>The M3 Framework is a roadmap designed to help Federal agencies achieve successful outcomes in their system and/or service modernizations and migration initiatives. </a:t>
            </a:r>
          </a:p>
          <a:p>
            <a:r>
              <a:rPr lang="en-US" sz="1600"/>
              <a:t>The M3 Framework segments modernizations and migrations into six discrete phases. Each phase includes a series of objectives and recommended activities that are grouped across four workstreams Program Management, Workforce, Organization and Stakeholders, Technology, and Process and Service Delivery.</a:t>
            </a:r>
          </a:p>
        </p:txBody>
      </p:sp>
      <p:pic>
        <p:nvPicPr>
          <p:cNvPr id="10" name="Picture 9">
            <a:extLst>
              <a:ext uri="{FF2B5EF4-FFF2-40B4-BE49-F238E27FC236}">
                <a16:creationId xmlns:a16="http://schemas.microsoft.com/office/drawing/2014/main" id="{985BB283-74DC-4F86-88C7-102F740066AB}"/>
              </a:ext>
            </a:extLst>
          </p:cNvPr>
          <p:cNvPicPr>
            <a:picLocks noChangeAspect="1"/>
          </p:cNvPicPr>
          <p:nvPr/>
        </p:nvPicPr>
        <p:blipFill>
          <a:blip r:embed="rId2"/>
          <a:stretch>
            <a:fillRect/>
          </a:stretch>
        </p:blipFill>
        <p:spPr>
          <a:xfrm>
            <a:off x="1354888" y="2686864"/>
            <a:ext cx="9482223" cy="3457904"/>
          </a:xfrm>
          <a:prstGeom prst="rect">
            <a:avLst/>
          </a:prstGeom>
        </p:spPr>
      </p:pic>
      <p:sp>
        <p:nvSpPr>
          <p:cNvPr id="9" name="TextBox 8">
            <a:extLst>
              <a:ext uri="{FF2B5EF4-FFF2-40B4-BE49-F238E27FC236}">
                <a16:creationId xmlns:a16="http://schemas.microsoft.com/office/drawing/2014/main" id="{ECCF648A-3355-4777-A230-EBABBF1B3E04}"/>
              </a:ext>
            </a:extLst>
          </p:cNvPr>
          <p:cNvSpPr txBox="1"/>
          <p:nvPr/>
        </p:nvSpPr>
        <p:spPr>
          <a:xfrm>
            <a:off x="3733800" y="6527812"/>
            <a:ext cx="4724400" cy="261610"/>
          </a:xfrm>
          <a:prstGeom prst="rect">
            <a:avLst/>
          </a:prstGeom>
          <a:noFill/>
        </p:spPr>
        <p:txBody>
          <a:bodyPr wrap="square" rtlCol="0">
            <a:spAutoFit/>
          </a:bodyPr>
          <a:lstStyle/>
          <a:p>
            <a:pPr algn="ctr"/>
            <a:r>
              <a:rPr lang="en-US" sz="1100" i="1" dirty="0">
                <a:solidFill>
                  <a:schemeClr val="tx1"/>
                </a:solidFill>
              </a:rPr>
              <a:t>- Last published June 2022 -</a:t>
            </a:r>
          </a:p>
        </p:txBody>
      </p:sp>
    </p:spTree>
    <p:extLst>
      <p:ext uri="{BB962C8B-B14F-4D97-AF65-F5344CB8AC3E}">
        <p14:creationId xmlns:p14="http://schemas.microsoft.com/office/powerpoint/2010/main" val="18844383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48DE9330-1FB6-4AE5-8F13-608E2EB12611}"/>
              </a:ext>
            </a:extLst>
          </p:cNvPr>
          <p:cNvGrpSpPr/>
          <p:nvPr/>
        </p:nvGrpSpPr>
        <p:grpSpPr>
          <a:xfrm>
            <a:off x="-29207" y="-24958"/>
            <a:ext cx="12246693" cy="6907916"/>
            <a:chOff x="-29192" y="-24958"/>
            <a:chExt cx="12232747" cy="6907916"/>
          </a:xfrm>
        </p:grpSpPr>
        <p:sp>
          <p:nvSpPr>
            <p:cNvPr id="7" name="Rectangle 6">
              <a:extLst>
                <a:ext uri="{FF2B5EF4-FFF2-40B4-BE49-F238E27FC236}">
                  <a16:creationId xmlns:a16="http://schemas.microsoft.com/office/drawing/2014/main" id="{D699E8FD-3FF5-4694-90A1-AD3766E1C2E0}"/>
                </a:ext>
              </a:extLst>
            </p:cNvPr>
            <p:cNvSpPr/>
            <p:nvPr/>
          </p:nvSpPr>
          <p:spPr>
            <a:xfrm>
              <a:off x="0" y="0"/>
              <a:ext cx="12192000" cy="6858000"/>
            </a:xfrm>
            <a:prstGeom prst="rect">
              <a:avLst/>
            </a:prstGeom>
            <a:solidFill>
              <a:srgbClr val="005087"/>
            </a:solidFill>
            <a:ln>
              <a:solidFill>
                <a:srgbClr val="0050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6" name="Picture 5">
              <a:extLst>
                <a:ext uri="{FF2B5EF4-FFF2-40B4-BE49-F238E27FC236}">
                  <a16:creationId xmlns:a16="http://schemas.microsoft.com/office/drawing/2014/main" id="{323D5DCE-91C0-4554-A584-2EEE85516A17}"/>
                </a:ext>
              </a:extLst>
            </p:cNvPr>
            <p:cNvPicPr>
              <a:picLocks noChangeAspect="1"/>
            </p:cNvPicPr>
            <p:nvPr/>
          </p:nvPicPr>
          <p:blipFill>
            <a:blip r:embed="rId2"/>
            <a:stretch>
              <a:fillRect/>
            </a:stretch>
          </p:blipFill>
          <p:spPr>
            <a:xfrm>
              <a:off x="-29192" y="-24958"/>
              <a:ext cx="12232747" cy="6907916"/>
            </a:xfrm>
            <a:prstGeom prst="rect">
              <a:avLst/>
            </a:prstGeom>
          </p:spPr>
        </p:pic>
      </p:grpSp>
      <p:sp>
        <p:nvSpPr>
          <p:cNvPr id="2" name="Slide Number Placeholder 1">
            <a:extLst>
              <a:ext uri="{FF2B5EF4-FFF2-40B4-BE49-F238E27FC236}">
                <a16:creationId xmlns:a16="http://schemas.microsoft.com/office/drawing/2014/main" id="{1626865A-2938-4266-AE69-6F8D147F0B64}"/>
              </a:ext>
            </a:extLst>
          </p:cNvPr>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 sz="1200" b="1" i="0" u="none" strike="noStrike" kern="0" cap="none" spc="0" normalizeH="0" baseline="0" noProof="0" dirty="0">
              <a:ln>
                <a:noFill/>
              </a:ln>
              <a:solidFill>
                <a:srgbClr val="FFFFFF"/>
              </a:solidFill>
              <a:effectLst/>
              <a:uLnTx/>
              <a:uFillTx/>
              <a:latin typeface="Arial"/>
              <a:cs typeface="Arial"/>
              <a:sym typeface="Arial"/>
            </a:endParaRPr>
          </a:p>
        </p:txBody>
      </p:sp>
      <p:sp>
        <p:nvSpPr>
          <p:cNvPr id="3" name="Footer Placeholder 2">
            <a:extLst>
              <a:ext uri="{FF2B5EF4-FFF2-40B4-BE49-F238E27FC236}">
                <a16:creationId xmlns:a16="http://schemas.microsoft.com/office/drawing/2014/main" id="{96814683-17BA-4ED1-9821-F2D318E0FCF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dirty="0">
                <a:ln>
                  <a:noFill/>
                </a:ln>
                <a:solidFill>
                  <a:srgbClr val="FFFFFF"/>
                </a:solidFill>
                <a:effectLst/>
                <a:uLnTx/>
                <a:uFillTx/>
                <a:latin typeface="Arial"/>
                <a:cs typeface="Arial"/>
                <a:sym typeface="Arial"/>
              </a:rPr>
              <a:t>M3 Playbook Orientation</a:t>
            </a:r>
          </a:p>
        </p:txBody>
      </p:sp>
      <p:sp>
        <p:nvSpPr>
          <p:cNvPr id="5" name="Title 4">
            <a:extLst>
              <a:ext uri="{FF2B5EF4-FFF2-40B4-BE49-F238E27FC236}">
                <a16:creationId xmlns:a16="http://schemas.microsoft.com/office/drawing/2014/main" id="{4EB248F1-E6B4-4946-9965-6BDEF1E2F0AF}"/>
              </a:ext>
            </a:extLst>
          </p:cNvPr>
          <p:cNvSpPr>
            <a:spLocks noGrp="1"/>
          </p:cNvSpPr>
          <p:nvPr>
            <p:ph type="title"/>
          </p:nvPr>
        </p:nvSpPr>
        <p:spPr>
          <a:xfrm>
            <a:off x="638355" y="338175"/>
            <a:ext cx="10938293" cy="855691"/>
          </a:xfrm>
        </p:spPr>
        <p:txBody>
          <a:bodyPr>
            <a:normAutofit/>
          </a:bodyPr>
          <a:lstStyle/>
          <a:p>
            <a:r>
              <a:rPr lang="en-US" dirty="0">
                <a:solidFill>
                  <a:schemeClr val="bg1"/>
                </a:solidFill>
              </a:rPr>
              <a:t>M3 Playbook Introduction - Video </a:t>
            </a:r>
          </a:p>
        </p:txBody>
      </p:sp>
      <p:cxnSp>
        <p:nvCxnSpPr>
          <p:cNvPr id="8" name="Straight Connector 7">
            <a:extLst>
              <a:ext uri="{FF2B5EF4-FFF2-40B4-BE49-F238E27FC236}">
                <a16:creationId xmlns:a16="http://schemas.microsoft.com/office/drawing/2014/main" id="{4EDC759D-3303-48E3-9242-431A923E5FF4}"/>
              </a:ext>
            </a:extLst>
          </p:cNvPr>
          <p:cNvCxnSpPr>
            <a:cxnSpLocks/>
          </p:cNvCxnSpPr>
          <p:nvPr/>
        </p:nvCxnSpPr>
        <p:spPr>
          <a:xfrm>
            <a:off x="638355" y="936183"/>
            <a:ext cx="1156756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C9C7E34-34D1-4189-A413-DF46C515D779}"/>
              </a:ext>
            </a:extLst>
          </p:cNvPr>
          <p:cNvSpPr txBox="1"/>
          <p:nvPr/>
        </p:nvSpPr>
        <p:spPr>
          <a:xfrm>
            <a:off x="3733800" y="6527812"/>
            <a:ext cx="47244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1" u="none" strike="noStrike" kern="0" cap="none" spc="0" normalizeH="0" baseline="0" noProof="0" dirty="0">
                <a:ln>
                  <a:noFill/>
                </a:ln>
                <a:solidFill>
                  <a:srgbClr val="FFFFFF"/>
                </a:solidFill>
                <a:effectLst/>
                <a:uLnTx/>
                <a:uFillTx/>
                <a:latin typeface="Arial"/>
                <a:cs typeface="Arial"/>
                <a:sym typeface="Arial"/>
              </a:rPr>
              <a:t> - Last published June 2022 -</a:t>
            </a:r>
          </a:p>
        </p:txBody>
      </p:sp>
      <p:sp>
        <p:nvSpPr>
          <p:cNvPr id="15" name="Text Placeholder 7">
            <a:extLst>
              <a:ext uri="{FF2B5EF4-FFF2-40B4-BE49-F238E27FC236}">
                <a16:creationId xmlns:a16="http://schemas.microsoft.com/office/drawing/2014/main" id="{2D3B85F1-CCC9-4FC3-81E3-4D4547B1DCB1}"/>
              </a:ext>
            </a:extLst>
          </p:cNvPr>
          <p:cNvSpPr>
            <a:spLocks noGrp="1"/>
          </p:cNvSpPr>
          <p:nvPr>
            <p:ph type="body" sz="quarter" idx="12"/>
          </p:nvPr>
        </p:nvSpPr>
        <p:spPr>
          <a:xfrm>
            <a:off x="638355" y="1108490"/>
            <a:ext cx="10938292" cy="1263650"/>
          </a:xfrm>
        </p:spPr>
        <p:txBody>
          <a:bodyPr>
            <a:noAutofit/>
          </a:bodyPr>
          <a:lstStyle/>
          <a:p>
            <a:r>
              <a:rPr lang="en-US" sz="1600" dirty="0">
                <a:solidFill>
                  <a:schemeClr val="bg1"/>
                </a:solidFill>
                <a:latin typeface="+mn-lt"/>
              </a:rPr>
              <a:t>Please click the play button on the laptop screen below to further familiarize yourself with the M3 Playbook.</a:t>
            </a:r>
          </a:p>
        </p:txBody>
      </p:sp>
      <p:pic>
        <p:nvPicPr>
          <p:cNvPr id="14" name="Picture 13">
            <a:hlinkClick r:id="rId3"/>
            <a:extLst>
              <a:ext uri="{FF2B5EF4-FFF2-40B4-BE49-F238E27FC236}">
                <a16:creationId xmlns:a16="http://schemas.microsoft.com/office/drawing/2014/main" id="{9CAAE58E-74B4-47D1-9AEB-DBFF5F960C38}"/>
              </a:ext>
            </a:extLst>
          </p:cNvPr>
          <p:cNvPicPr>
            <a:picLocks noChangeAspect="1"/>
          </p:cNvPicPr>
          <p:nvPr/>
        </p:nvPicPr>
        <p:blipFill>
          <a:blip r:embed="rId4"/>
          <a:stretch>
            <a:fillRect/>
          </a:stretch>
        </p:blipFill>
        <p:spPr>
          <a:xfrm>
            <a:off x="1279743" y="1566192"/>
            <a:ext cx="9632515" cy="4907705"/>
          </a:xfrm>
          <a:prstGeom prst="rect">
            <a:avLst/>
          </a:prstGeom>
        </p:spPr>
      </p:pic>
      <p:grpSp>
        <p:nvGrpSpPr>
          <p:cNvPr id="19" name="Group 18">
            <a:extLst>
              <a:ext uri="{FF2B5EF4-FFF2-40B4-BE49-F238E27FC236}">
                <a16:creationId xmlns:a16="http://schemas.microsoft.com/office/drawing/2014/main" id="{3B8391DF-CA0C-49B6-BC34-AF0A92CAF6B0}"/>
              </a:ext>
            </a:extLst>
          </p:cNvPr>
          <p:cNvGrpSpPr/>
          <p:nvPr/>
        </p:nvGrpSpPr>
        <p:grpSpPr>
          <a:xfrm>
            <a:off x="5364480" y="3288524"/>
            <a:ext cx="1463040" cy="1463040"/>
            <a:chOff x="7531100" y="3250950"/>
            <a:chExt cx="1463040" cy="1463040"/>
          </a:xfrm>
        </p:grpSpPr>
        <p:sp>
          <p:nvSpPr>
            <p:cNvPr id="18" name="Oval 17">
              <a:hlinkClick r:id="rId3"/>
              <a:extLst>
                <a:ext uri="{FF2B5EF4-FFF2-40B4-BE49-F238E27FC236}">
                  <a16:creationId xmlns:a16="http://schemas.microsoft.com/office/drawing/2014/main" id="{1A9D36EE-57BE-4399-A678-1F8C51660A46}"/>
                </a:ext>
              </a:extLst>
            </p:cNvPr>
            <p:cNvSpPr/>
            <p:nvPr/>
          </p:nvSpPr>
          <p:spPr>
            <a:xfrm>
              <a:off x="7531100" y="3250950"/>
              <a:ext cx="1463040" cy="1463040"/>
            </a:xfrm>
            <a:prstGeom prst="ellipse">
              <a:avLst/>
            </a:prstGeom>
            <a:solidFill>
              <a:srgbClr val="E6E6E6">
                <a:alpha val="89000"/>
              </a:srgbClr>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a:ea typeface="+mn-ea"/>
                <a:cs typeface="+mn-cs"/>
                <a:sym typeface="Arial"/>
              </a:endParaRPr>
            </a:p>
          </p:txBody>
        </p:sp>
        <p:pic>
          <p:nvPicPr>
            <p:cNvPr id="17" name="Graphic 16" descr="Play">
              <a:hlinkClick r:id="rId3"/>
              <a:extLst>
                <a:ext uri="{FF2B5EF4-FFF2-40B4-BE49-F238E27FC236}">
                  <a16:creationId xmlns:a16="http://schemas.microsoft.com/office/drawing/2014/main" id="{A151780B-C0C7-48DA-9AC5-539EE988EB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56220" y="3525270"/>
              <a:ext cx="914400" cy="914400"/>
            </a:xfrm>
            <a:prstGeom prst="rect">
              <a:avLst/>
            </a:prstGeom>
          </p:spPr>
        </p:pic>
      </p:grpSp>
    </p:spTree>
    <p:extLst>
      <p:ext uri="{BB962C8B-B14F-4D97-AF65-F5344CB8AC3E}">
        <p14:creationId xmlns:p14="http://schemas.microsoft.com/office/powerpoint/2010/main" val="237421262"/>
      </p:ext>
    </p:extLst>
  </p:cSld>
  <p:clrMapOvr>
    <a:masterClrMapping/>
  </p:clrMapOvr>
  <p:timing>
    <p:tnLst>
      <p:par>
        <p:cTn id="1" dur="indefinite" restart="never" nodeType="tmRoot">
          <p:childTnLst>
            <p:par>
              <p:cTn id="2"/>
            </p:par>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6D43D98-4DE9-4BA6-ACA1-1F149275B94B}"/>
              </a:ext>
            </a:extLst>
          </p:cNvPr>
          <p:cNvSpPr>
            <a:spLocks noGrp="1"/>
          </p:cNvSpPr>
          <p:nvPr>
            <p:ph type="sldNum" idx="10"/>
          </p:nvPr>
        </p:nvSpPr>
        <p:spPr>
          <a:xfrm>
            <a:off x="10845048" y="6222434"/>
            <a:ext cx="731600" cy="524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rgbClr val="005087"/>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 sz="1200" b="1" i="0" u="none" strike="noStrike" kern="0" cap="none" spc="0" normalizeH="0" baseline="0" noProof="0">
              <a:ln>
                <a:noFill/>
              </a:ln>
              <a:solidFill>
                <a:srgbClr val="005087"/>
              </a:solidFill>
              <a:effectLst/>
              <a:uLnTx/>
              <a:uFillTx/>
              <a:latin typeface="Arial"/>
              <a:ea typeface="+mn-ea"/>
              <a:cs typeface="Arial"/>
              <a:sym typeface="Arial"/>
            </a:endParaRPr>
          </a:p>
        </p:txBody>
      </p:sp>
      <p:sp>
        <p:nvSpPr>
          <p:cNvPr id="5" name="Title 4">
            <a:extLst>
              <a:ext uri="{FF2B5EF4-FFF2-40B4-BE49-F238E27FC236}">
                <a16:creationId xmlns:a16="http://schemas.microsoft.com/office/drawing/2014/main" id="{815B8620-B818-48E2-B90E-BBF1527C53A0}"/>
              </a:ext>
            </a:extLst>
          </p:cNvPr>
          <p:cNvSpPr>
            <a:spLocks noGrp="1"/>
          </p:cNvSpPr>
          <p:nvPr>
            <p:ph type="title"/>
          </p:nvPr>
        </p:nvSpPr>
        <p:spPr>
          <a:xfrm>
            <a:off x="638355" y="312848"/>
            <a:ext cx="10938293" cy="855691"/>
          </a:xfrm>
        </p:spPr>
        <p:txBody>
          <a:bodyPr>
            <a:noAutofit/>
          </a:bodyPr>
          <a:lstStyle/>
          <a:p>
            <a:r>
              <a:rPr lang="en-US"/>
              <a:t>What is the M3 Playbook?</a:t>
            </a:r>
          </a:p>
        </p:txBody>
      </p:sp>
      <p:sp>
        <p:nvSpPr>
          <p:cNvPr id="8" name="Text Placeholder 7">
            <a:extLst>
              <a:ext uri="{FF2B5EF4-FFF2-40B4-BE49-F238E27FC236}">
                <a16:creationId xmlns:a16="http://schemas.microsoft.com/office/drawing/2014/main" id="{7EBFC3E1-166A-4E91-A229-FC4E49261FE9}"/>
              </a:ext>
            </a:extLst>
          </p:cNvPr>
          <p:cNvSpPr>
            <a:spLocks noGrp="1"/>
          </p:cNvSpPr>
          <p:nvPr>
            <p:ph type="body" sz="quarter" idx="12"/>
          </p:nvPr>
        </p:nvSpPr>
        <p:spPr>
          <a:xfrm>
            <a:off x="638355" y="1105389"/>
            <a:ext cx="11111093" cy="1738387"/>
          </a:xfrm>
        </p:spPr>
        <p:txBody>
          <a:bodyPr>
            <a:normAutofit/>
          </a:bodyPr>
          <a:lstStyle/>
          <a:p>
            <a:r>
              <a:rPr lang="en-US" sz="1600" kern="200"/>
              <a:t>The M3 Playbook i</a:t>
            </a:r>
            <a:r>
              <a:rPr lang="en-US" sz="1600"/>
              <a:t>s a collection of tools, templates, and lessons learned</a:t>
            </a:r>
            <a:r>
              <a:rPr lang="en-US" sz="1600" kern="200"/>
              <a:t> designed to help Federal agencies and shared services provider organizations plan for and execute modernization and migration projects of all types, and levels of complexity.</a:t>
            </a:r>
          </a:p>
          <a:p>
            <a:r>
              <a:rPr lang="en-US" sz="1600" kern="200"/>
              <a:t>The M3 Playbook </a:t>
            </a:r>
            <a:r>
              <a:rPr lang="en-US" sz="1600" b="1" u="sng" kern="200"/>
              <a:t>is not a prescriptive</a:t>
            </a:r>
            <a:r>
              <a:rPr lang="en-US" sz="1600" kern="200"/>
              <a:t> process document – it is a roadmap, founded on industry project management best practices. It is aligned to government-wide Business Standards and the Federal Shared Services ecosystem; it </a:t>
            </a:r>
            <a:r>
              <a:rPr lang="en-US" sz="1600"/>
              <a:t>will add value and improve the likelihood of success for agency modernization projects. </a:t>
            </a:r>
          </a:p>
          <a:p>
            <a:endParaRPr lang="en-US" sz="1600" kern="200"/>
          </a:p>
        </p:txBody>
      </p:sp>
      <p:sp>
        <p:nvSpPr>
          <p:cNvPr id="10" name="Footer Placeholder 2">
            <a:extLst>
              <a:ext uri="{FF2B5EF4-FFF2-40B4-BE49-F238E27FC236}">
                <a16:creationId xmlns:a16="http://schemas.microsoft.com/office/drawing/2014/main" id="{78B2A109-9610-44E1-A08D-B6A13C7632D4}"/>
              </a:ext>
            </a:extLst>
          </p:cNvPr>
          <p:cNvSpPr>
            <a:spLocks noGrp="1"/>
          </p:cNvSpPr>
          <p:nvPr>
            <p:ph type="ftr" sz="quarter" idx="11"/>
          </p:nvPr>
        </p:nvSpPr>
        <p:spPr>
          <a:xfrm>
            <a:off x="8077200" y="76362"/>
            <a:ext cx="3499448" cy="254259"/>
          </a:xfrm>
        </p:spPr>
        <p:txBody>
          <a:bodyPr/>
          <a:lstStyle/>
          <a:p>
            <a:pPr lvl="0">
              <a:defRPr/>
            </a:pPr>
            <a:r>
              <a:rPr lang="en-US"/>
              <a:t>M3 Playbook Orientation</a:t>
            </a:r>
          </a:p>
        </p:txBody>
      </p:sp>
      <p:sp>
        <p:nvSpPr>
          <p:cNvPr id="14" name="Freeform: Shape 13">
            <a:extLst>
              <a:ext uri="{FF2B5EF4-FFF2-40B4-BE49-F238E27FC236}">
                <a16:creationId xmlns:a16="http://schemas.microsoft.com/office/drawing/2014/main" id="{BC55F82F-FE81-4330-90EC-BA59D3800329}"/>
              </a:ext>
            </a:extLst>
          </p:cNvPr>
          <p:cNvSpPr/>
          <p:nvPr/>
        </p:nvSpPr>
        <p:spPr>
          <a:xfrm>
            <a:off x="4546333" y="5303177"/>
            <a:ext cx="3295135" cy="1269555"/>
          </a:xfrm>
          <a:custGeom>
            <a:avLst/>
            <a:gdLst>
              <a:gd name="connsiteX0" fmla="*/ 2128132 w 4256264"/>
              <a:gd name="connsiteY0" fmla="*/ 0 h 1883120"/>
              <a:gd name="connsiteX1" fmla="*/ 4254814 w 4256264"/>
              <a:gd name="connsiteY1" fmla="*/ 1855363 h 1883120"/>
              <a:gd name="connsiteX2" fmla="*/ 4256264 w 4256264"/>
              <a:gd name="connsiteY2" fmla="*/ 1883120 h 1883120"/>
              <a:gd name="connsiteX3" fmla="*/ 0 w 4256264"/>
              <a:gd name="connsiteY3" fmla="*/ 1883120 h 1883120"/>
              <a:gd name="connsiteX4" fmla="*/ 1450 w 4256264"/>
              <a:gd name="connsiteY4" fmla="*/ 1855363 h 1883120"/>
              <a:gd name="connsiteX5" fmla="*/ 2128132 w 4256264"/>
              <a:gd name="connsiteY5" fmla="*/ 0 h 18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6264" h="1883120">
                <a:moveTo>
                  <a:pt x="2128132" y="0"/>
                </a:moveTo>
                <a:cubicBezTo>
                  <a:pt x="3234973" y="0"/>
                  <a:pt x="4145342" y="813233"/>
                  <a:pt x="4254814" y="1855363"/>
                </a:cubicBezTo>
                <a:lnTo>
                  <a:pt x="4256264" y="1883120"/>
                </a:lnTo>
                <a:lnTo>
                  <a:pt x="0" y="1883120"/>
                </a:lnTo>
                <a:lnTo>
                  <a:pt x="1450" y="1855363"/>
                </a:lnTo>
                <a:cubicBezTo>
                  <a:pt x="110923" y="813233"/>
                  <a:pt x="1021292" y="0"/>
                  <a:pt x="2128132" y="0"/>
                </a:cubicBezTo>
                <a:close/>
              </a:path>
            </a:pathLst>
          </a:custGeom>
          <a:solidFill>
            <a:srgbClr val="78B336"/>
          </a:solidFill>
          <a:ln>
            <a:solidFill>
              <a:srgbClr val="78B3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40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21" name="Freeform: Shape 20">
            <a:extLst>
              <a:ext uri="{FF2B5EF4-FFF2-40B4-BE49-F238E27FC236}">
                <a16:creationId xmlns:a16="http://schemas.microsoft.com/office/drawing/2014/main" id="{B3CFC7F3-06B3-4AD3-A130-26943E9EAC48}"/>
              </a:ext>
            </a:extLst>
          </p:cNvPr>
          <p:cNvSpPr/>
          <p:nvPr/>
        </p:nvSpPr>
        <p:spPr>
          <a:xfrm>
            <a:off x="4725695" y="5481244"/>
            <a:ext cx="2926080" cy="1097280"/>
          </a:xfrm>
          <a:custGeom>
            <a:avLst/>
            <a:gdLst>
              <a:gd name="connsiteX0" fmla="*/ 2128132 w 4256264"/>
              <a:gd name="connsiteY0" fmla="*/ 0 h 1883120"/>
              <a:gd name="connsiteX1" fmla="*/ 4254814 w 4256264"/>
              <a:gd name="connsiteY1" fmla="*/ 1855363 h 1883120"/>
              <a:gd name="connsiteX2" fmla="*/ 4256264 w 4256264"/>
              <a:gd name="connsiteY2" fmla="*/ 1883120 h 1883120"/>
              <a:gd name="connsiteX3" fmla="*/ 0 w 4256264"/>
              <a:gd name="connsiteY3" fmla="*/ 1883120 h 1883120"/>
              <a:gd name="connsiteX4" fmla="*/ 1450 w 4256264"/>
              <a:gd name="connsiteY4" fmla="*/ 1855363 h 1883120"/>
              <a:gd name="connsiteX5" fmla="*/ 2128132 w 4256264"/>
              <a:gd name="connsiteY5" fmla="*/ 0 h 18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6264" h="1883120">
                <a:moveTo>
                  <a:pt x="2128132" y="0"/>
                </a:moveTo>
                <a:cubicBezTo>
                  <a:pt x="3234973" y="0"/>
                  <a:pt x="4145342" y="813233"/>
                  <a:pt x="4254814" y="1855363"/>
                </a:cubicBezTo>
                <a:lnTo>
                  <a:pt x="4256264" y="1883120"/>
                </a:lnTo>
                <a:lnTo>
                  <a:pt x="0" y="1883120"/>
                </a:lnTo>
                <a:lnTo>
                  <a:pt x="1450" y="1855363"/>
                </a:lnTo>
                <a:cubicBezTo>
                  <a:pt x="110923" y="813233"/>
                  <a:pt x="1021292" y="0"/>
                  <a:pt x="2128132" y="0"/>
                </a:cubicBezTo>
                <a:close/>
              </a:path>
            </a:pathLst>
          </a:cu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40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6" name="TextBox 5">
            <a:extLst>
              <a:ext uri="{FF2B5EF4-FFF2-40B4-BE49-F238E27FC236}">
                <a16:creationId xmlns:a16="http://schemas.microsoft.com/office/drawing/2014/main" id="{AD974FFC-50BD-4EC0-8921-7CBAADCCA9B1}"/>
              </a:ext>
            </a:extLst>
          </p:cNvPr>
          <p:cNvSpPr txBox="1"/>
          <p:nvPr/>
        </p:nvSpPr>
        <p:spPr>
          <a:xfrm>
            <a:off x="4940702" y="5836493"/>
            <a:ext cx="249606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FFFFFF"/>
                </a:solidFill>
                <a:effectLst/>
                <a:uLnTx/>
                <a:uFillTx/>
                <a:latin typeface="Arial"/>
                <a:ea typeface="+mn-ea"/>
                <a:cs typeface="Arial"/>
                <a:sym typeface="Arial"/>
              </a:rPr>
              <a:t>M3 Playbook</a:t>
            </a:r>
            <a:endParaRPr kumimoji="0" lang="en-US" sz="1000" b="0" i="0" u="none" strike="noStrike" kern="0" cap="none" spc="0" normalizeH="0" baseline="0" noProof="0">
              <a:ln>
                <a:noFill/>
              </a:ln>
              <a:solidFill>
                <a:srgbClr val="FFFFFF"/>
              </a:solidFill>
              <a:effectLst/>
              <a:uLnTx/>
              <a:uFillTx/>
              <a:latin typeface="Arial"/>
              <a:ea typeface="+mn-ea"/>
              <a:cs typeface="Arial"/>
              <a:sym typeface="Arial"/>
            </a:endParaRPr>
          </a:p>
        </p:txBody>
      </p:sp>
      <p:grpSp>
        <p:nvGrpSpPr>
          <p:cNvPr id="13" name="Group 12">
            <a:extLst>
              <a:ext uri="{FF2B5EF4-FFF2-40B4-BE49-F238E27FC236}">
                <a16:creationId xmlns:a16="http://schemas.microsoft.com/office/drawing/2014/main" id="{FCEC544E-B0D5-411D-8D11-8BDA92EBFA13}"/>
              </a:ext>
            </a:extLst>
          </p:cNvPr>
          <p:cNvGrpSpPr/>
          <p:nvPr/>
        </p:nvGrpSpPr>
        <p:grpSpPr>
          <a:xfrm>
            <a:off x="3495302" y="4447020"/>
            <a:ext cx="1355750" cy="1184760"/>
            <a:chOff x="3239850" y="4782217"/>
            <a:chExt cx="1355750" cy="1184760"/>
          </a:xfrm>
        </p:grpSpPr>
        <p:grpSp>
          <p:nvGrpSpPr>
            <p:cNvPr id="12" name="Group 11">
              <a:extLst>
                <a:ext uri="{FF2B5EF4-FFF2-40B4-BE49-F238E27FC236}">
                  <a16:creationId xmlns:a16="http://schemas.microsoft.com/office/drawing/2014/main" id="{D0635BE6-1BD2-4867-969F-650AEC21B474}"/>
                </a:ext>
              </a:extLst>
            </p:cNvPr>
            <p:cNvGrpSpPr/>
            <p:nvPr/>
          </p:nvGrpSpPr>
          <p:grpSpPr>
            <a:xfrm>
              <a:off x="3239850" y="4782217"/>
              <a:ext cx="1355750" cy="1184760"/>
              <a:chOff x="3239850" y="4782217"/>
              <a:chExt cx="1355750" cy="1184760"/>
            </a:xfrm>
          </p:grpSpPr>
          <p:cxnSp>
            <p:nvCxnSpPr>
              <p:cNvPr id="16" name="Straight Connector 15">
                <a:extLst>
                  <a:ext uri="{FF2B5EF4-FFF2-40B4-BE49-F238E27FC236}">
                    <a16:creationId xmlns:a16="http://schemas.microsoft.com/office/drawing/2014/main" id="{CE01F8CE-2DE2-4C70-BF96-2F51B33083F7}"/>
                  </a:ext>
                </a:extLst>
              </p:cNvPr>
              <p:cNvCxnSpPr>
                <a:cxnSpLocks/>
              </p:cNvCxnSpPr>
              <p:nvPr/>
            </p:nvCxnSpPr>
            <p:spPr>
              <a:xfrm flipH="1" flipV="1">
                <a:off x="4076884" y="5538245"/>
                <a:ext cx="518716" cy="428732"/>
              </a:xfrm>
              <a:prstGeom prst="line">
                <a:avLst/>
              </a:prstGeom>
              <a:ln w="38100">
                <a:solidFill>
                  <a:srgbClr val="78B336"/>
                </a:solidFill>
                <a:prstDash val="sysDot"/>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95359BDF-EDF7-44F2-AE84-39A6807F55C9}"/>
                  </a:ext>
                </a:extLst>
              </p:cNvPr>
              <p:cNvSpPr/>
              <p:nvPr/>
            </p:nvSpPr>
            <p:spPr>
              <a:xfrm>
                <a:off x="3239850" y="4782217"/>
                <a:ext cx="1097280" cy="1097280"/>
              </a:xfrm>
              <a:prstGeom prst="ellipse">
                <a:avLst/>
              </a:prstGeom>
              <a:solidFill>
                <a:schemeClr val="bg1"/>
              </a:solidFill>
              <a:ln w="38100">
                <a:solidFill>
                  <a:srgbClr val="78B33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9" name="Oval 8">
                <a:extLst>
                  <a:ext uri="{FF2B5EF4-FFF2-40B4-BE49-F238E27FC236}">
                    <a16:creationId xmlns:a16="http://schemas.microsoft.com/office/drawing/2014/main" id="{907DF7D3-D8C6-4F41-90D7-D3D771D02F88}"/>
                  </a:ext>
                </a:extLst>
              </p:cNvPr>
              <p:cNvSpPr/>
              <p:nvPr/>
            </p:nvSpPr>
            <p:spPr>
              <a:xfrm>
                <a:off x="3331290" y="4873657"/>
                <a:ext cx="914400" cy="9144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35" name="Picture 34">
              <a:extLst>
                <a:ext uri="{FF2B5EF4-FFF2-40B4-BE49-F238E27FC236}">
                  <a16:creationId xmlns:a16="http://schemas.microsoft.com/office/drawing/2014/main" id="{377DD6ED-C8BB-42E7-93E4-C2933913A2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30" y="4965097"/>
              <a:ext cx="731520" cy="731520"/>
            </a:xfrm>
            <a:prstGeom prst="rect">
              <a:avLst/>
            </a:prstGeom>
          </p:spPr>
        </p:pic>
      </p:grpSp>
      <p:grpSp>
        <p:nvGrpSpPr>
          <p:cNvPr id="11" name="Group 10">
            <a:extLst>
              <a:ext uri="{FF2B5EF4-FFF2-40B4-BE49-F238E27FC236}">
                <a16:creationId xmlns:a16="http://schemas.microsoft.com/office/drawing/2014/main" id="{7C856CAF-CAC4-449E-BDAF-E0AADDBBA1E0}"/>
              </a:ext>
            </a:extLst>
          </p:cNvPr>
          <p:cNvGrpSpPr/>
          <p:nvPr/>
        </p:nvGrpSpPr>
        <p:grpSpPr>
          <a:xfrm>
            <a:off x="7602316" y="4500063"/>
            <a:ext cx="1355750" cy="1184760"/>
            <a:chOff x="7436767" y="4458678"/>
            <a:chExt cx="1355750" cy="1184760"/>
          </a:xfrm>
        </p:grpSpPr>
        <p:cxnSp>
          <p:nvCxnSpPr>
            <p:cNvPr id="37" name="Straight Connector 36">
              <a:extLst>
                <a:ext uri="{FF2B5EF4-FFF2-40B4-BE49-F238E27FC236}">
                  <a16:creationId xmlns:a16="http://schemas.microsoft.com/office/drawing/2014/main" id="{9D00CBF7-298D-47AF-A9D1-5D81C437EB48}"/>
                </a:ext>
              </a:extLst>
            </p:cNvPr>
            <p:cNvCxnSpPr>
              <a:cxnSpLocks/>
            </p:cNvCxnSpPr>
            <p:nvPr/>
          </p:nvCxnSpPr>
          <p:spPr>
            <a:xfrm flipV="1">
              <a:off x="7436767" y="5214706"/>
              <a:ext cx="518716" cy="428732"/>
            </a:xfrm>
            <a:prstGeom prst="line">
              <a:avLst/>
            </a:prstGeom>
            <a:ln w="38100">
              <a:solidFill>
                <a:srgbClr val="78B336"/>
              </a:solidFill>
              <a:prstDash val="sysDot"/>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25407D9-5CB1-4C2E-B5D6-724FE177C8D1}"/>
                </a:ext>
              </a:extLst>
            </p:cNvPr>
            <p:cNvSpPr/>
            <p:nvPr/>
          </p:nvSpPr>
          <p:spPr>
            <a:xfrm flipH="1">
              <a:off x="7695237" y="4458678"/>
              <a:ext cx="1097280" cy="1097280"/>
            </a:xfrm>
            <a:prstGeom prst="ellipse">
              <a:avLst/>
            </a:prstGeom>
            <a:solidFill>
              <a:schemeClr val="bg1"/>
            </a:solidFill>
            <a:ln w="38100">
              <a:solidFill>
                <a:srgbClr val="78B33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9" name="Oval 38">
              <a:extLst>
                <a:ext uri="{FF2B5EF4-FFF2-40B4-BE49-F238E27FC236}">
                  <a16:creationId xmlns:a16="http://schemas.microsoft.com/office/drawing/2014/main" id="{1F898593-7713-4F79-945A-47B0AAD44174}"/>
                </a:ext>
              </a:extLst>
            </p:cNvPr>
            <p:cNvSpPr/>
            <p:nvPr/>
          </p:nvSpPr>
          <p:spPr>
            <a:xfrm flipH="1">
              <a:off x="7786677" y="4550118"/>
              <a:ext cx="914400" cy="9144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3" name="Picture 42">
              <a:extLst>
                <a:ext uri="{FF2B5EF4-FFF2-40B4-BE49-F238E27FC236}">
                  <a16:creationId xmlns:a16="http://schemas.microsoft.com/office/drawing/2014/main" id="{E02FA953-E38F-4491-9C17-CBBCC655409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78117" y="4641558"/>
              <a:ext cx="731520" cy="731520"/>
            </a:xfrm>
            <a:prstGeom prst="rect">
              <a:avLst/>
            </a:prstGeom>
          </p:spPr>
        </p:pic>
      </p:grpSp>
      <p:grpSp>
        <p:nvGrpSpPr>
          <p:cNvPr id="4" name="Group 3">
            <a:extLst>
              <a:ext uri="{FF2B5EF4-FFF2-40B4-BE49-F238E27FC236}">
                <a16:creationId xmlns:a16="http://schemas.microsoft.com/office/drawing/2014/main" id="{0535A444-45BE-4576-B24C-AE61B3DCB63E}"/>
              </a:ext>
            </a:extLst>
          </p:cNvPr>
          <p:cNvGrpSpPr/>
          <p:nvPr/>
        </p:nvGrpSpPr>
        <p:grpSpPr>
          <a:xfrm rot="21242058">
            <a:off x="4638188" y="2846183"/>
            <a:ext cx="1097280" cy="2445647"/>
            <a:chOff x="4819456" y="2773569"/>
            <a:chExt cx="1097280" cy="2445647"/>
          </a:xfrm>
        </p:grpSpPr>
        <p:cxnSp>
          <p:nvCxnSpPr>
            <p:cNvPr id="47" name="Straight Connector 46">
              <a:extLst>
                <a:ext uri="{FF2B5EF4-FFF2-40B4-BE49-F238E27FC236}">
                  <a16:creationId xmlns:a16="http://schemas.microsoft.com/office/drawing/2014/main" id="{16AC666D-B862-4EDE-A8CD-96BAF8C0D0C7}"/>
                </a:ext>
              </a:extLst>
            </p:cNvPr>
            <p:cNvCxnSpPr>
              <a:cxnSpLocks/>
            </p:cNvCxnSpPr>
            <p:nvPr/>
          </p:nvCxnSpPr>
          <p:spPr>
            <a:xfrm rot="20980191" flipH="1" flipV="1">
              <a:off x="5571700" y="3658116"/>
              <a:ext cx="12353" cy="1561100"/>
            </a:xfrm>
            <a:prstGeom prst="line">
              <a:avLst/>
            </a:prstGeom>
            <a:ln w="38100">
              <a:solidFill>
                <a:srgbClr val="78B336"/>
              </a:solidFill>
              <a:prstDash val="sysDot"/>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40C7FDA1-6802-4E01-A146-B630E85969FA}"/>
                </a:ext>
              </a:extLst>
            </p:cNvPr>
            <p:cNvSpPr/>
            <p:nvPr/>
          </p:nvSpPr>
          <p:spPr>
            <a:xfrm rot="2364153">
              <a:off x="4819456" y="2773569"/>
              <a:ext cx="1097280" cy="1097280"/>
            </a:xfrm>
            <a:prstGeom prst="ellipse">
              <a:avLst/>
            </a:prstGeom>
            <a:solidFill>
              <a:schemeClr val="bg1"/>
            </a:solidFill>
            <a:ln w="38100">
              <a:solidFill>
                <a:srgbClr val="78B33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9" name="Oval 48">
              <a:extLst>
                <a:ext uri="{FF2B5EF4-FFF2-40B4-BE49-F238E27FC236}">
                  <a16:creationId xmlns:a16="http://schemas.microsoft.com/office/drawing/2014/main" id="{B5023B41-5FC8-4473-8F6B-5742A8CA2A27}"/>
                </a:ext>
              </a:extLst>
            </p:cNvPr>
            <p:cNvSpPr/>
            <p:nvPr/>
          </p:nvSpPr>
          <p:spPr>
            <a:xfrm rot="2364153">
              <a:off x="4910896" y="2865009"/>
              <a:ext cx="914400" cy="9144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0" name="Picture 49">
              <a:extLst>
                <a:ext uri="{FF2B5EF4-FFF2-40B4-BE49-F238E27FC236}">
                  <a16:creationId xmlns:a16="http://schemas.microsoft.com/office/drawing/2014/main" id="{E9559714-36C6-4CFE-B8A5-2F031DAE31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357942">
              <a:off x="5002336" y="2956449"/>
              <a:ext cx="731520" cy="731520"/>
            </a:xfrm>
            <a:prstGeom prst="rect">
              <a:avLst/>
            </a:prstGeom>
          </p:spPr>
        </p:pic>
      </p:grpSp>
      <p:grpSp>
        <p:nvGrpSpPr>
          <p:cNvPr id="40" name="Group 39">
            <a:extLst>
              <a:ext uri="{FF2B5EF4-FFF2-40B4-BE49-F238E27FC236}">
                <a16:creationId xmlns:a16="http://schemas.microsoft.com/office/drawing/2014/main" id="{1FF93026-D772-4409-A130-72810DCFAF95}"/>
              </a:ext>
            </a:extLst>
          </p:cNvPr>
          <p:cNvGrpSpPr/>
          <p:nvPr/>
        </p:nvGrpSpPr>
        <p:grpSpPr>
          <a:xfrm>
            <a:off x="168006" y="4447020"/>
            <a:ext cx="3198061" cy="1169551"/>
            <a:chOff x="0" y="4713416"/>
            <a:chExt cx="3198061" cy="1169551"/>
          </a:xfrm>
        </p:grpSpPr>
        <p:sp>
          <p:nvSpPr>
            <p:cNvPr id="41" name="TextBox 40">
              <a:extLst>
                <a:ext uri="{FF2B5EF4-FFF2-40B4-BE49-F238E27FC236}">
                  <a16:creationId xmlns:a16="http://schemas.microsoft.com/office/drawing/2014/main" id="{63649770-12D6-460B-A071-218682ECF8C4}"/>
                </a:ext>
              </a:extLst>
            </p:cNvPr>
            <p:cNvSpPr txBox="1"/>
            <p:nvPr/>
          </p:nvSpPr>
          <p:spPr>
            <a:xfrm>
              <a:off x="0" y="4713416"/>
              <a:ext cx="3198061"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600" b="1" dirty="0">
                  <a:solidFill>
                    <a:srgbClr val="005087"/>
                  </a:solidFill>
                  <a:ea typeface="+mn-ea"/>
                </a:rPr>
                <a:t>7</a:t>
              </a:r>
              <a:r>
                <a:rPr kumimoji="0" lang="en-US" sz="1600" b="1" i="0" u="none" strike="noStrike" kern="0" cap="none" spc="0" normalizeH="0" baseline="0" noProof="0" dirty="0">
                  <a:ln>
                    <a:noFill/>
                  </a:ln>
                  <a:solidFill>
                    <a:srgbClr val="005087"/>
                  </a:solidFill>
                  <a:effectLst/>
                  <a:uLnTx/>
                  <a:uFillTx/>
                  <a:latin typeface="Arial"/>
                  <a:ea typeface="+mn-ea"/>
                  <a:cs typeface="Arial"/>
                  <a:sym typeface="Arial"/>
                </a:rPr>
                <a:t>0+ Guided Activities</a:t>
              </a:r>
            </a:p>
          </p:txBody>
        </p:sp>
        <p:sp>
          <p:nvSpPr>
            <p:cNvPr id="42" name="TextBox 41">
              <a:extLst>
                <a:ext uri="{FF2B5EF4-FFF2-40B4-BE49-F238E27FC236}">
                  <a16:creationId xmlns:a16="http://schemas.microsoft.com/office/drawing/2014/main" id="{4928E37D-28E3-44A6-ACB0-423F1E57E46B}"/>
                </a:ext>
              </a:extLst>
            </p:cNvPr>
            <p:cNvSpPr txBox="1"/>
            <p:nvPr/>
          </p:nvSpPr>
          <p:spPr>
            <a:xfrm>
              <a:off x="115654" y="5051970"/>
              <a:ext cx="3082407"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5087"/>
                  </a:solidFill>
                  <a:effectLst/>
                  <a:uLnTx/>
                  <a:uFillTx/>
                  <a:latin typeface="Arial" panose="020B0604020202020204"/>
                  <a:ea typeface="+mn-ea"/>
                  <a:cs typeface="+mn-cs"/>
                </a:rPr>
                <a:t>Descriptions for how to apply the M3 framework, including detailed activity steps, inputs, outputs, lessons learned, and stakeholders involved.</a:t>
              </a:r>
            </a:p>
          </p:txBody>
        </p:sp>
      </p:grpSp>
      <p:grpSp>
        <p:nvGrpSpPr>
          <p:cNvPr id="44" name="Group 43">
            <a:extLst>
              <a:ext uri="{FF2B5EF4-FFF2-40B4-BE49-F238E27FC236}">
                <a16:creationId xmlns:a16="http://schemas.microsoft.com/office/drawing/2014/main" id="{2CB5E300-3CAC-4512-AFEE-1CDA8E312B97}"/>
              </a:ext>
            </a:extLst>
          </p:cNvPr>
          <p:cNvGrpSpPr/>
          <p:nvPr/>
        </p:nvGrpSpPr>
        <p:grpSpPr>
          <a:xfrm>
            <a:off x="9049506" y="4447020"/>
            <a:ext cx="2802691" cy="988252"/>
            <a:chOff x="8997557" y="4407865"/>
            <a:chExt cx="2802691" cy="988252"/>
          </a:xfrm>
        </p:grpSpPr>
        <p:sp>
          <p:nvSpPr>
            <p:cNvPr id="45" name="Rectangle 44">
              <a:extLst>
                <a:ext uri="{FF2B5EF4-FFF2-40B4-BE49-F238E27FC236}">
                  <a16:creationId xmlns:a16="http://schemas.microsoft.com/office/drawing/2014/main" id="{9A470483-771F-49F9-BBB1-F542BFBFB0D5}"/>
                </a:ext>
              </a:extLst>
            </p:cNvPr>
            <p:cNvSpPr/>
            <p:nvPr/>
          </p:nvSpPr>
          <p:spPr>
            <a:xfrm>
              <a:off x="8997557" y="4407865"/>
              <a:ext cx="2475358"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05087"/>
                  </a:solidFill>
                  <a:effectLst/>
                  <a:uLnTx/>
                  <a:uFillTx/>
                  <a:latin typeface="Arial"/>
                  <a:ea typeface="+mn-ea"/>
                  <a:cs typeface="Arial"/>
                  <a:sym typeface="Arial"/>
                </a:rPr>
                <a:t>Prior Agency Exampl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5087"/>
                </a:solidFill>
                <a:effectLst/>
                <a:uLnTx/>
                <a:uFillTx/>
                <a:latin typeface="Arial"/>
                <a:ea typeface="+mn-ea"/>
                <a:cs typeface="Arial"/>
                <a:sym typeface="Arial"/>
              </a:endParaRPr>
            </a:p>
          </p:txBody>
        </p:sp>
        <p:sp>
          <p:nvSpPr>
            <p:cNvPr id="46" name="TextBox 45">
              <a:extLst>
                <a:ext uri="{FF2B5EF4-FFF2-40B4-BE49-F238E27FC236}">
                  <a16:creationId xmlns:a16="http://schemas.microsoft.com/office/drawing/2014/main" id="{BB452F2D-1505-4A0C-8A7A-F98E934EF9BA}"/>
                </a:ext>
              </a:extLst>
            </p:cNvPr>
            <p:cNvSpPr txBox="1"/>
            <p:nvPr/>
          </p:nvSpPr>
          <p:spPr>
            <a:xfrm>
              <a:off x="8997557" y="4749786"/>
              <a:ext cx="280269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5087"/>
                  </a:solidFill>
                  <a:effectLst/>
                  <a:uLnTx/>
                  <a:uFillTx/>
                  <a:latin typeface="Arial" panose="020B0604020202020204"/>
                  <a:ea typeface="+mn-ea"/>
                  <a:cs typeface="+mn-cs"/>
                </a:rPr>
                <a:t>A repository that includes sample documentation from previous modernization and migration projects.</a:t>
              </a:r>
            </a:p>
          </p:txBody>
        </p:sp>
      </p:grpSp>
      <p:grpSp>
        <p:nvGrpSpPr>
          <p:cNvPr id="51" name="Group 50">
            <a:extLst>
              <a:ext uri="{FF2B5EF4-FFF2-40B4-BE49-F238E27FC236}">
                <a16:creationId xmlns:a16="http://schemas.microsoft.com/office/drawing/2014/main" id="{BAA4E094-A966-4546-8D10-F0EA84E842C0}"/>
              </a:ext>
            </a:extLst>
          </p:cNvPr>
          <p:cNvGrpSpPr/>
          <p:nvPr/>
        </p:nvGrpSpPr>
        <p:grpSpPr>
          <a:xfrm>
            <a:off x="364563" y="2903275"/>
            <a:ext cx="4074923" cy="1129855"/>
            <a:chOff x="6546137" y="2979974"/>
            <a:chExt cx="4074923" cy="1129855"/>
          </a:xfrm>
        </p:grpSpPr>
        <p:sp>
          <p:nvSpPr>
            <p:cNvPr id="52" name="Rectangle 51">
              <a:extLst>
                <a:ext uri="{FF2B5EF4-FFF2-40B4-BE49-F238E27FC236}">
                  <a16:creationId xmlns:a16="http://schemas.microsoft.com/office/drawing/2014/main" id="{2846F729-7C58-4DFF-B2C8-E559ABEF3E4C}"/>
                </a:ext>
              </a:extLst>
            </p:cNvPr>
            <p:cNvSpPr/>
            <p:nvPr/>
          </p:nvSpPr>
          <p:spPr>
            <a:xfrm>
              <a:off x="7466029" y="2979974"/>
              <a:ext cx="3155031" cy="338554"/>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05087"/>
                  </a:solidFill>
                  <a:effectLst/>
                  <a:uLnTx/>
                  <a:uFillTx/>
                  <a:latin typeface="Arial"/>
                  <a:ea typeface="+mn-ea"/>
                  <a:cs typeface="Arial"/>
                  <a:sym typeface="Arial"/>
                </a:rPr>
                <a:t>25+ Documentation Templates</a:t>
              </a:r>
            </a:p>
          </p:txBody>
        </p:sp>
        <p:sp>
          <p:nvSpPr>
            <p:cNvPr id="53" name="TextBox 52">
              <a:extLst>
                <a:ext uri="{FF2B5EF4-FFF2-40B4-BE49-F238E27FC236}">
                  <a16:creationId xmlns:a16="http://schemas.microsoft.com/office/drawing/2014/main" id="{42189D14-4AF7-4A66-9804-46CA9416FF9E}"/>
                </a:ext>
              </a:extLst>
            </p:cNvPr>
            <p:cNvSpPr txBox="1"/>
            <p:nvPr/>
          </p:nvSpPr>
          <p:spPr>
            <a:xfrm>
              <a:off x="6546137" y="3278832"/>
              <a:ext cx="4074923"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5087"/>
                  </a:solidFill>
                  <a:effectLst/>
                  <a:uLnTx/>
                  <a:uFillTx/>
                  <a:latin typeface="Arial" panose="020B0604020202020204"/>
                  <a:ea typeface="+mn-ea"/>
                  <a:cs typeface="+mn-cs"/>
                </a:rPr>
                <a:t>Template documents that include comprehensive guidance to aid </a:t>
              </a:r>
              <a:r>
                <a:rPr lang="en-US" sz="1200" kern="1200" dirty="0">
                  <a:solidFill>
                    <a:srgbClr val="005087"/>
                  </a:solidFill>
                  <a:ea typeface="+mn-ea"/>
                  <a:cs typeface="+mn-cs"/>
                </a:rPr>
                <a:t>Federal</a:t>
              </a:r>
              <a:r>
                <a:rPr kumimoji="0" lang="en-US" sz="1200" b="0" i="0" u="none" strike="noStrike" kern="1200" cap="none" spc="0" normalizeH="0" baseline="0" noProof="0" dirty="0">
                  <a:ln>
                    <a:noFill/>
                  </a:ln>
                  <a:solidFill>
                    <a:srgbClr val="005087"/>
                  </a:solidFill>
                  <a:effectLst/>
                  <a:uLnTx/>
                  <a:uFillTx/>
                  <a:latin typeface="Arial" panose="020B0604020202020204"/>
                  <a:ea typeface="+mn-ea"/>
                  <a:cs typeface="+mn-cs"/>
                </a:rPr>
                <a:t> agencies and </a:t>
              </a:r>
              <a:r>
                <a:rPr lang="en-US" sz="1200" kern="1200" dirty="0">
                  <a:solidFill>
                    <a:srgbClr val="005087"/>
                  </a:solidFill>
                  <a:ea typeface="+mn-ea"/>
                  <a:cs typeface="+mn-cs"/>
                </a:rPr>
                <a:t>shared services p</a:t>
              </a:r>
              <a:r>
                <a:rPr kumimoji="0" lang="en-US" sz="1200" b="0" i="0" u="none" strike="noStrike" kern="1200" cap="none" spc="0" normalizeH="0" baseline="0" noProof="0" dirty="0" err="1">
                  <a:ln>
                    <a:noFill/>
                  </a:ln>
                  <a:solidFill>
                    <a:srgbClr val="005087"/>
                  </a:solidFill>
                  <a:effectLst/>
                  <a:uLnTx/>
                  <a:uFillTx/>
                  <a:latin typeface="Arial" panose="020B0604020202020204"/>
                  <a:ea typeface="+mn-ea"/>
                  <a:cs typeface="+mn-cs"/>
                </a:rPr>
                <a:t>roviders</a:t>
              </a:r>
              <a:r>
                <a:rPr lang="en-US" sz="1200" kern="1200" dirty="0">
                  <a:solidFill>
                    <a:srgbClr val="005087"/>
                  </a:solidFill>
                  <a:ea typeface="+mn-ea"/>
                  <a:cs typeface="+mn-cs"/>
                </a:rPr>
                <a:t> </a:t>
              </a:r>
              <a:r>
                <a:rPr kumimoji="0" lang="en-US" sz="1200" b="0" i="0" u="none" strike="noStrike" kern="1200" cap="none" spc="0" normalizeH="0" baseline="0" noProof="0" dirty="0">
                  <a:ln>
                    <a:noFill/>
                  </a:ln>
                  <a:solidFill>
                    <a:srgbClr val="005087"/>
                  </a:solidFill>
                  <a:effectLst/>
                  <a:uLnTx/>
                  <a:uFillTx/>
                  <a:latin typeface="Arial" panose="020B0604020202020204"/>
                  <a:ea typeface="+mn-ea"/>
                  <a:cs typeface="+mn-cs"/>
                </a:rPr>
                <a:t>in the completion of activities and provide key considerations.</a:t>
              </a:r>
            </a:p>
          </p:txBody>
        </p:sp>
      </p:grpSp>
      <p:grpSp>
        <p:nvGrpSpPr>
          <p:cNvPr id="57" name="Group 56">
            <a:extLst>
              <a:ext uri="{FF2B5EF4-FFF2-40B4-BE49-F238E27FC236}">
                <a16:creationId xmlns:a16="http://schemas.microsoft.com/office/drawing/2014/main" id="{DC855EF5-1D0B-48C2-88B4-B156A49CAC1F}"/>
              </a:ext>
            </a:extLst>
          </p:cNvPr>
          <p:cNvGrpSpPr/>
          <p:nvPr/>
        </p:nvGrpSpPr>
        <p:grpSpPr>
          <a:xfrm>
            <a:off x="7752514" y="2903275"/>
            <a:ext cx="4074923" cy="948904"/>
            <a:chOff x="7059569" y="3005438"/>
            <a:chExt cx="4074923" cy="948904"/>
          </a:xfrm>
        </p:grpSpPr>
        <p:sp>
          <p:nvSpPr>
            <p:cNvPr id="58" name="Rectangle 57">
              <a:extLst>
                <a:ext uri="{FF2B5EF4-FFF2-40B4-BE49-F238E27FC236}">
                  <a16:creationId xmlns:a16="http://schemas.microsoft.com/office/drawing/2014/main" id="{CD5A5EFB-51D6-4CD7-A992-3E7CD3A11F37}"/>
                </a:ext>
              </a:extLst>
            </p:cNvPr>
            <p:cNvSpPr/>
            <p:nvPr/>
          </p:nvSpPr>
          <p:spPr>
            <a:xfrm>
              <a:off x="7059569" y="3005438"/>
              <a:ext cx="1598515" cy="338554"/>
            </a:xfrm>
            <a:prstGeom prst="rect">
              <a:avLst/>
            </a:prstGeom>
          </p:spPr>
          <p:txBody>
            <a:bodyPr wrap="none">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05087"/>
                  </a:solidFill>
                  <a:effectLst/>
                  <a:uLnTx/>
                  <a:uFillTx/>
                  <a:latin typeface="Arial"/>
                  <a:ea typeface="+mn-ea"/>
                  <a:cs typeface="Arial"/>
                  <a:sym typeface="Arial"/>
                </a:rPr>
                <a:t>Best Practices</a:t>
              </a:r>
            </a:p>
          </p:txBody>
        </p:sp>
        <p:sp>
          <p:nvSpPr>
            <p:cNvPr id="59" name="TextBox 58">
              <a:extLst>
                <a:ext uri="{FF2B5EF4-FFF2-40B4-BE49-F238E27FC236}">
                  <a16:creationId xmlns:a16="http://schemas.microsoft.com/office/drawing/2014/main" id="{94B3AEA5-5CA1-474A-91D4-0FA3C17B78F9}"/>
                </a:ext>
              </a:extLst>
            </p:cNvPr>
            <p:cNvSpPr txBox="1"/>
            <p:nvPr/>
          </p:nvSpPr>
          <p:spPr>
            <a:xfrm>
              <a:off x="7059569" y="3308011"/>
              <a:ext cx="4074923" cy="64633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5087"/>
                  </a:solidFill>
                  <a:effectLst/>
                  <a:uLnTx/>
                  <a:uFillTx/>
                  <a:latin typeface="Arial" panose="020B0604020202020204"/>
                  <a:ea typeface="+mn-ea"/>
                  <a:cs typeface="+mn-cs"/>
                </a:rPr>
                <a:t>Based on feedback from over 100 government and industry experts, reflects best practices and lessons learned from prior migrations.</a:t>
              </a:r>
            </a:p>
          </p:txBody>
        </p:sp>
      </p:grpSp>
      <p:grpSp>
        <p:nvGrpSpPr>
          <p:cNvPr id="61" name="Group 60">
            <a:extLst>
              <a:ext uri="{FF2B5EF4-FFF2-40B4-BE49-F238E27FC236}">
                <a16:creationId xmlns:a16="http://schemas.microsoft.com/office/drawing/2014/main" id="{D34B6443-4167-4989-9989-83EA09CE73FC}"/>
              </a:ext>
            </a:extLst>
          </p:cNvPr>
          <p:cNvGrpSpPr/>
          <p:nvPr/>
        </p:nvGrpSpPr>
        <p:grpSpPr>
          <a:xfrm rot="357942" flipH="1">
            <a:off x="6460721" y="2838767"/>
            <a:ext cx="1097280" cy="2445647"/>
            <a:chOff x="4819456" y="2773569"/>
            <a:chExt cx="1097280" cy="2445647"/>
          </a:xfrm>
        </p:grpSpPr>
        <p:cxnSp>
          <p:nvCxnSpPr>
            <p:cNvPr id="62" name="Straight Connector 61">
              <a:extLst>
                <a:ext uri="{FF2B5EF4-FFF2-40B4-BE49-F238E27FC236}">
                  <a16:creationId xmlns:a16="http://schemas.microsoft.com/office/drawing/2014/main" id="{5A0086F5-5D78-4CA7-A4CC-B43D7BBCB7AB}"/>
                </a:ext>
              </a:extLst>
            </p:cNvPr>
            <p:cNvCxnSpPr>
              <a:cxnSpLocks/>
            </p:cNvCxnSpPr>
            <p:nvPr/>
          </p:nvCxnSpPr>
          <p:spPr>
            <a:xfrm rot="20980191" flipH="1" flipV="1">
              <a:off x="5571700" y="3658116"/>
              <a:ext cx="12353" cy="1561100"/>
            </a:xfrm>
            <a:prstGeom prst="line">
              <a:avLst/>
            </a:prstGeom>
            <a:ln w="38100">
              <a:solidFill>
                <a:srgbClr val="78B336"/>
              </a:solidFill>
              <a:prstDash val="sysDot"/>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54D75E7A-0D04-40A8-946F-F4C6BEFC6E12}"/>
                </a:ext>
              </a:extLst>
            </p:cNvPr>
            <p:cNvSpPr/>
            <p:nvPr/>
          </p:nvSpPr>
          <p:spPr>
            <a:xfrm rot="2364153">
              <a:off x="4819456" y="2773569"/>
              <a:ext cx="1097280" cy="1097280"/>
            </a:xfrm>
            <a:prstGeom prst="ellipse">
              <a:avLst/>
            </a:prstGeom>
            <a:solidFill>
              <a:schemeClr val="bg1"/>
            </a:solidFill>
            <a:ln w="38100">
              <a:solidFill>
                <a:srgbClr val="78B33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64" name="Oval 63">
              <a:extLst>
                <a:ext uri="{FF2B5EF4-FFF2-40B4-BE49-F238E27FC236}">
                  <a16:creationId xmlns:a16="http://schemas.microsoft.com/office/drawing/2014/main" id="{3C0CBBF4-6E73-4084-A546-099799942E32}"/>
                </a:ext>
              </a:extLst>
            </p:cNvPr>
            <p:cNvSpPr/>
            <p:nvPr/>
          </p:nvSpPr>
          <p:spPr>
            <a:xfrm rot="2364153">
              <a:off x="4910896" y="2865009"/>
              <a:ext cx="914400" cy="9144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60" name="Picture 59">
            <a:extLst>
              <a:ext uri="{FF2B5EF4-FFF2-40B4-BE49-F238E27FC236}">
                <a16:creationId xmlns:a16="http://schemas.microsoft.com/office/drawing/2014/main" id="{50034001-1D00-47AC-9F36-745355BD8B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36785" y="3059160"/>
            <a:ext cx="685800" cy="685800"/>
          </a:xfrm>
          <a:prstGeom prst="rect">
            <a:avLst/>
          </a:prstGeom>
        </p:spPr>
      </p:pic>
      <p:sp>
        <p:nvSpPr>
          <p:cNvPr id="54" name="TextBox 53">
            <a:extLst>
              <a:ext uri="{FF2B5EF4-FFF2-40B4-BE49-F238E27FC236}">
                <a16:creationId xmlns:a16="http://schemas.microsoft.com/office/drawing/2014/main" id="{CDE1FF52-0DE1-4F60-9FC5-96CDAB8F3C68}"/>
              </a:ext>
            </a:extLst>
          </p:cNvPr>
          <p:cNvSpPr txBox="1"/>
          <p:nvPr/>
        </p:nvSpPr>
        <p:spPr>
          <a:xfrm>
            <a:off x="3745301" y="6605861"/>
            <a:ext cx="4724400" cy="261610"/>
          </a:xfrm>
          <a:prstGeom prst="rect">
            <a:avLst/>
          </a:prstGeom>
          <a:noFill/>
        </p:spPr>
        <p:txBody>
          <a:bodyPr wrap="square" rtlCol="0">
            <a:spAutoFit/>
          </a:bodyPr>
          <a:lstStyle/>
          <a:p>
            <a:pPr algn="ctr"/>
            <a:r>
              <a:rPr lang="en-US" sz="1100" i="1" dirty="0">
                <a:solidFill>
                  <a:schemeClr val="tx1"/>
                </a:solidFill>
              </a:rPr>
              <a:t>- Last published June 2022 -</a:t>
            </a:r>
          </a:p>
        </p:txBody>
      </p:sp>
      <p:sp>
        <p:nvSpPr>
          <p:cNvPr id="55" name="Rectangle 54">
            <a:extLst>
              <a:ext uri="{FF2B5EF4-FFF2-40B4-BE49-F238E27FC236}">
                <a16:creationId xmlns:a16="http://schemas.microsoft.com/office/drawing/2014/main" id="{48F45908-79AF-4D6F-AF96-49C10DB1A59A}"/>
              </a:ext>
            </a:extLst>
          </p:cNvPr>
          <p:cNvSpPr/>
          <p:nvPr/>
        </p:nvSpPr>
        <p:spPr>
          <a:xfrm>
            <a:off x="586095" y="6096000"/>
            <a:ext cx="1106362" cy="6511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36577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DAD0976-8333-47CF-A9BD-59311F7DF8E8}"/>
              </a:ext>
            </a:extLst>
          </p:cNvPr>
          <p:cNvSpPr/>
          <p:nvPr/>
        </p:nvSpPr>
        <p:spPr>
          <a:xfrm>
            <a:off x="404734" y="6012197"/>
            <a:ext cx="1633928" cy="78698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7" name="Rectangle 6">
            <a:extLst>
              <a:ext uri="{FF2B5EF4-FFF2-40B4-BE49-F238E27FC236}">
                <a16:creationId xmlns:a16="http://schemas.microsoft.com/office/drawing/2014/main" id="{08E5AFE5-2811-4C34-AE43-2EDFEC18149E}"/>
              </a:ext>
            </a:extLst>
          </p:cNvPr>
          <p:cNvSpPr/>
          <p:nvPr/>
        </p:nvSpPr>
        <p:spPr>
          <a:xfrm>
            <a:off x="0" y="0"/>
            <a:ext cx="12192000" cy="6858000"/>
          </a:xfrm>
          <a:prstGeom prst="rect">
            <a:avLst/>
          </a:prstGeom>
          <a:solidFill>
            <a:srgbClr val="005087"/>
          </a:solidFill>
          <a:ln>
            <a:solidFill>
              <a:srgbClr val="0050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pic>
        <p:nvPicPr>
          <p:cNvPr id="6" name="Picture 5">
            <a:extLst>
              <a:ext uri="{FF2B5EF4-FFF2-40B4-BE49-F238E27FC236}">
                <a16:creationId xmlns:a16="http://schemas.microsoft.com/office/drawing/2014/main" id="{D48EA7F4-1A2A-430D-B49A-C02B79A67924}"/>
              </a:ext>
            </a:extLst>
          </p:cNvPr>
          <p:cNvPicPr>
            <a:picLocks noChangeAspect="1"/>
          </p:cNvPicPr>
          <p:nvPr/>
        </p:nvPicPr>
        <p:blipFill>
          <a:blip r:embed="rId2"/>
          <a:stretch>
            <a:fillRect/>
          </a:stretch>
        </p:blipFill>
        <p:spPr>
          <a:xfrm>
            <a:off x="-27852" y="-20524"/>
            <a:ext cx="12239948" cy="6900040"/>
          </a:xfrm>
          <a:prstGeom prst="rect">
            <a:avLst/>
          </a:prstGeom>
        </p:spPr>
      </p:pic>
      <p:sp>
        <p:nvSpPr>
          <p:cNvPr id="2" name="Slide Number Placeholder 1">
            <a:extLst>
              <a:ext uri="{FF2B5EF4-FFF2-40B4-BE49-F238E27FC236}">
                <a16:creationId xmlns:a16="http://schemas.microsoft.com/office/drawing/2014/main" id="{0F9F1D00-A6FF-4094-AE94-A71EC201F4CF}"/>
              </a:ext>
            </a:extLst>
          </p:cNvPr>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1" i="0" u="none" strike="noStrike" kern="0" cap="none" spc="0" normalizeH="0" baseline="0" noProof="0" smtClean="0">
                <a:ln>
                  <a:noFill/>
                </a:ln>
                <a:solidFill>
                  <a:schemeClr val="bg1"/>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 sz="1200" b="1"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3" name="Footer Placeholder 2">
            <a:extLst>
              <a:ext uri="{FF2B5EF4-FFF2-40B4-BE49-F238E27FC236}">
                <a16:creationId xmlns:a16="http://schemas.microsoft.com/office/drawing/2014/main" id="{47B73A88-1B31-43F4-A0CA-4DCEBA584821}"/>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rgbClr val="FFFFFF"/>
                </a:solidFill>
                <a:effectLst/>
                <a:uLnTx/>
                <a:uFillTx/>
                <a:latin typeface="Arial"/>
                <a:ea typeface="+mn-ea"/>
                <a:cs typeface="Arial"/>
                <a:sym typeface="Arial"/>
              </a:rPr>
              <a:t>M3 Playbook Orientation</a:t>
            </a:r>
          </a:p>
        </p:txBody>
      </p:sp>
      <p:sp>
        <p:nvSpPr>
          <p:cNvPr id="5" name="Title 4">
            <a:extLst>
              <a:ext uri="{FF2B5EF4-FFF2-40B4-BE49-F238E27FC236}">
                <a16:creationId xmlns:a16="http://schemas.microsoft.com/office/drawing/2014/main" id="{AB43E3CB-BB6C-478E-A013-9978BFB26E87}"/>
              </a:ext>
            </a:extLst>
          </p:cNvPr>
          <p:cNvSpPr>
            <a:spLocks noGrp="1"/>
          </p:cNvSpPr>
          <p:nvPr>
            <p:ph type="title"/>
          </p:nvPr>
        </p:nvSpPr>
        <p:spPr/>
        <p:txBody>
          <a:bodyPr/>
          <a:lstStyle/>
          <a:p>
            <a:r>
              <a:rPr lang="en-US" dirty="0">
                <a:solidFill>
                  <a:schemeClr val="bg1"/>
                </a:solidFill>
              </a:rPr>
              <a:t>M3 Playbook Journey</a:t>
            </a:r>
          </a:p>
        </p:txBody>
      </p:sp>
      <p:cxnSp>
        <p:nvCxnSpPr>
          <p:cNvPr id="8" name="Straight Connector 7">
            <a:extLst>
              <a:ext uri="{FF2B5EF4-FFF2-40B4-BE49-F238E27FC236}">
                <a16:creationId xmlns:a16="http://schemas.microsoft.com/office/drawing/2014/main" id="{934B1D5B-2ED8-4CBB-965D-2BB062EB3CDA}"/>
              </a:ext>
            </a:extLst>
          </p:cNvPr>
          <p:cNvCxnSpPr>
            <a:cxnSpLocks/>
          </p:cNvCxnSpPr>
          <p:nvPr/>
        </p:nvCxnSpPr>
        <p:spPr>
          <a:xfrm>
            <a:off x="-27852" y="936183"/>
            <a:ext cx="75389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19E7E9C9-C268-4EEC-99E8-EDD783D70B75}"/>
              </a:ext>
            </a:extLst>
          </p:cNvPr>
          <p:cNvSpPr>
            <a:spLocks noGrp="1"/>
          </p:cNvSpPr>
          <p:nvPr>
            <p:ph type="body" sz="quarter" idx="12"/>
          </p:nvPr>
        </p:nvSpPr>
        <p:spPr>
          <a:xfrm>
            <a:off x="638355" y="1112844"/>
            <a:ext cx="10938292" cy="519172"/>
          </a:xfrm>
        </p:spPr>
        <p:txBody>
          <a:bodyPr>
            <a:noAutofit/>
          </a:bodyPr>
          <a:lstStyle/>
          <a:p>
            <a:r>
              <a:rPr lang="en-US" sz="1600">
                <a:solidFill>
                  <a:schemeClr val="bg1"/>
                </a:solidFill>
              </a:rPr>
              <a:t>This timeline illustrates the recent history and progression of the M3 Playbook </a:t>
            </a:r>
          </a:p>
        </p:txBody>
      </p:sp>
      <p:cxnSp>
        <p:nvCxnSpPr>
          <p:cNvPr id="49" name="Straight Connector 48">
            <a:extLst>
              <a:ext uri="{FF2B5EF4-FFF2-40B4-BE49-F238E27FC236}">
                <a16:creationId xmlns:a16="http://schemas.microsoft.com/office/drawing/2014/main" id="{BA67D013-5412-4B5D-8A4F-B443411BA3F3}"/>
              </a:ext>
            </a:extLst>
          </p:cNvPr>
          <p:cNvCxnSpPr/>
          <p:nvPr/>
        </p:nvCxnSpPr>
        <p:spPr>
          <a:xfrm>
            <a:off x="1998654" y="2544020"/>
            <a:ext cx="0" cy="662318"/>
          </a:xfrm>
          <a:prstGeom prst="line">
            <a:avLst/>
          </a:prstGeom>
          <a:ln w="28575">
            <a:solidFill>
              <a:srgbClr val="93D152"/>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8F113D5-670D-43A0-AC3A-8483CD2C622E}"/>
              </a:ext>
            </a:extLst>
          </p:cNvPr>
          <p:cNvGrpSpPr/>
          <p:nvPr/>
        </p:nvGrpSpPr>
        <p:grpSpPr>
          <a:xfrm flipH="1">
            <a:off x="288675" y="4401744"/>
            <a:ext cx="330187" cy="662318"/>
            <a:chOff x="2229102" y="4319529"/>
            <a:chExt cx="330187" cy="662318"/>
          </a:xfrm>
        </p:grpSpPr>
        <p:cxnSp>
          <p:nvCxnSpPr>
            <p:cNvPr id="48" name="Straight Connector 47">
              <a:extLst>
                <a:ext uri="{FF2B5EF4-FFF2-40B4-BE49-F238E27FC236}">
                  <a16:creationId xmlns:a16="http://schemas.microsoft.com/office/drawing/2014/main" id="{8D18F89C-E799-47EB-A2AB-087300630A8F}"/>
                </a:ext>
              </a:extLst>
            </p:cNvPr>
            <p:cNvCxnSpPr/>
            <p:nvPr/>
          </p:nvCxnSpPr>
          <p:spPr>
            <a:xfrm>
              <a:off x="2544691" y="4319529"/>
              <a:ext cx="0" cy="662318"/>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AC13941-93BF-46BD-A7B2-C9F2D08FC860}"/>
                </a:ext>
              </a:extLst>
            </p:cNvPr>
            <p:cNvCxnSpPr>
              <a:cxnSpLocks/>
            </p:cNvCxnSpPr>
            <p:nvPr/>
          </p:nvCxnSpPr>
          <p:spPr>
            <a:xfrm flipH="1">
              <a:off x="2229102" y="4976795"/>
              <a:ext cx="330187"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4685EB03-8917-488D-B4D4-7A7A5E69B5B3}"/>
              </a:ext>
            </a:extLst>
          </p:cNvPr>
          <p:cNvSpPr/>
          <p:nvPr/>
        </p:nvSpPr>
        <p:spPr>
          <a:xfrm>
            <a:off x="-20095" y="3429547"/>
            <a:ext cx="8949560" cy="7800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05051865-4FFA-40EC-8E24-5ADF924F7BB6}"/>
              </a:ext>
            </a:extLst>
          </p:cNvPr>
          <p:cNvSpPr/>
          <p:nvPr/>
        </p:nvSpPr>
        <p:spPr>
          <a:xfrm>
            <a:off x="127724" y="3488419"/>
            <a:ext cx="1461300" cy="6623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mn-ea"/>
                <a:cs typeface="+mn-cs"/>
              </a:rPr>
              <a:t>2018</a:t>
            </a:r>
          </a:p>
        </p:txBody>
      </p:sp>
      <p:sp>
        <p:nvSpPr>
          <p:cNvPr id="31" name="Rectangle 30">
            <a:extLst>
              <a:ext uri="{FF2B5EF4-FFF2-40B4-BE49-F238E27FC236}">
                <a16:creationId xmlns:a16="http://schemas.microsoft.com/office/drawing/2014/main" id="{1C335081-11BF-4F76-BE87-8958A37D16DA}"/>
              </a:ext>
            </a:extLst>
          </p:cNvPr>
          <p:cNvSpPr/>
          <p:nvPr/>
        </p:nvSpPr>
        <p:spPr>
          <a:xfrm>
            <a:off x="2381687" y="3494132"/>
            <a:ext cx="1461300" cy="6623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mn-ea"/>
                <a:cs typeface="+mn-cs"/>
              </a:rPr>
              <a:t>2019</a:t>
            </a:r>
          </a:p>
        </p:txBody>
      </p:sp>
      <p:sp>
        <p:nvSpPr>
          <p:cNvPr id="33" name="Rectangle 32">
            <a:extLst>
              <a:ext uri="{FF2B5EF4-FFF2-40B4-BE49-F238E27FC236}">
                <a16:creationId xmlns:a16="http://schemas.microsoft.com/office/drawing/2014/main" id="{00FE0419-BDCD-4114-A1C2-E1945CF5809A}"/>
              </a:ext>
            </a:extLst>
          </p:cNvPr>
          <p:cNvSpPr/>
          <p:nvPr/>
        </p:nvSpPr>
        <p:spPr>
          <a:xfrm>
            <a:off x="4634700" y="3488418"/>
            <a:ext cx="1461300" cy="6623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mn-ea"/>
                <a:cs typeface="+mn-cs"/>
              </a:rPr>
              <a:t>2020</a:t>
            </a:r>
          </a:p>
        </p:txBody>
      </p:sp>
      <p:sp>
        <p:nvSpPr>
          <p:cNvPr id="22" name="Rectangle 21">
            <a:extLst>
              <a:ext uri="{FF2B5EF4-FFF2-40B4-BE49-F238E27FC236}">
                <a16:creationId xmlns:a16="http://schemas.microsoft.com/office/drawing/2014/main" id="{4FDAF795-4091-4F0C-A0AE-71E12611E83C}"/>
              </a:ext>
            </a:extLst>
          </p:cNvPr>
          <p:cNvSpPr/>
          <p:nvPr/>
        </p:nvSpPr>
        <p:spPr>
          <a:xfrm>
            <a:off x="6887715" y="3488417"/>
            <a:ext cx="1461300" cy="6623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mn-ea"/>
                <a:cs typeface="+mn-cs"/>
              </a:rPr>
              <a:t>2021</a:t>
            </a: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8EDA3A84-610A-41F2-AF72-E90CF6E558F4}"/>
              </a:ext>
            </a:extLst>
          </p:cNvPr>
          <p:cNvSpPr/>
          <p:nvPr/>
        </p:nvSpPr>
        <p:spPr>
          <a:xfrm rot="5400000">
            <a:off x="9607788" y="2469570"/>
            <a:ext cx="1656106" cy="2677600"/>
          </a:xfrm>
          <a:custGeom>
            <a:avLst/>
            <a:gdLst>
              <a:gd name="connsiteX0" fmla="*/ 0 w 1656106"/>
              <a:gd name="connsiteY0" fmla="*/ 780062 h 1825839"/>
              <a:gd name="connsiteX1" fmla="*/ 828053 w 1656106"/>
              <a:gd name="connsiteY1" fmla="*/ 0 h 1825839"/>
              <a:gd name="connsiteX2" fmla="*/ 1656106 w 1656106"/>
              <a:gd name="connsiteY2" fmla="*/ 780062 h 1825839"/>
              <a:gd name="connsiteX3" fmla="*/ 1224283 w 1656106"/>
              <a:gd name="connsiteY3" fmla="*/ 780062 h 1825839"/>
              <a:gd name="connsiteX4" fmla="*/ 1224283 w 1656106"/>
              <a:gd name="connsiteY4" fmla="*/ 1825839 h 1825839"/>
              <a:gd name="connsiteX5" fmla="*/ 444221 w 1656106"/>
              <a:gd name="connsiteY5" fmla="*/ 1825839 h 1825839"/>
              <a:gd name="connsiteX6" fmla="*/ 444221 w 1656106"/>
              <a:gd name="connsiteY6" fmla="*/ 780062 h 182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6106" h="1825839">
                <a:moveTo>
                  <a:pt x="0" y="780062"/>
                </a:moveTo>
                <a:lnTo>
                  <a:pt x="828053" y="0"/>
                </a:lnTo>
                <a:lnTo>
                  <a:pt x="1656106" y="780062"/>
                </a:lnTo>
                <a:lnTo>
                  <a:pt x="1224283" y="780062"/>
                </a:lnTo>
                <a:lnTo>
                  <a:pt x="1224283" y="1825839"/>
                </a:lnTo>
                <a:lnTo>
                  <a:pt x="444221" y="1825839"/>
                </a:lnTo>
                <a:lnTo>
                  <a:pt x="444221" y="780062"/>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4" name="Straight Connector 33">
            <a:extLst>
              <a:ext uri="{FF2B5EF4-FFF2-40B4-BE49-F238E27FC236}">
                <a16:creationId xmlns:a16="http://schemas.microsoft.com/office/drawing/2014/main" id="{E61FC4FB-D716-4271-B0A3-FCAAAA1E5A6F}"/>
              </a:ext>
            </a:extLst>
          </p:cNvPr>
          <p:cNvCxnSpPr/>
          <p:nvPr/>
        </p:nvCxnSpPr>
        <p:spPr>
          <a:xfrm>
            <a:off x="9480979" y="2544020"/>
            <a:ext cx="0" cy="662318"/>
          </a:xfrm>
          <a:prstGeom prst="line">
            <a:avLst/>
          </a:prstGeom>
          <a:ln w="28575">
            <a:solidFill>
              <a:srgbClr val="93D15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C46D648-EC57-442D-86B2-85EC274D4FB5}"/>
              </a:ext>
            </a:extLst>
          </p:cNvPr>
          <p:cNvCxnSpPr/>
          <p:nvPr/>
        </p:nvCxnSpPr>
        <p:spPr>
          <a:xfrm>
            <a:off x="6008613" y="2544020"/>
            <a:ext cx="0" cy="662318"/>
          </a:xfrm>
          <a:prstGeom prst="line">
            <a:avLst/>
          </a:prstGeom>
          <a:ln w="28575">
            <a:solidFill>
              <a:srgbClr val="93D152"/>
            </a:solidFill>
          </a:ln>
        </p:spPr>
        <p:style>
          <a:lnRef idx="1">
            <a:schemeClr val="accent1"/>
          </a:lnRef>
          <a:fillRef idx="0">
            <a:schemeClr val="accent1"/>
          </a:fillRef>
          <a:effectRef idx="0">
            <a:schemeClr val="accent1"/>
          </a:effectRef>
          <a:fontRef idx="minor">
            <a:schemeClr val="tx1"/>
          </a:fontRef>
        </p:style>
      </p:cxnSp>
      <p:sp>
        <p:nvSpPr>
          <p:cNvPr id="37" name="Body text copy">
            <a:extLst>
              <a:ext uri="{FF2B5EF4-FFF2-40B4-BE49-F238E27FC236}">
                <a16:creationId xmlns:a16="http://schemas.microsoft.com/office/drawing/2014/main" id="{8F672F02-E752-4516-85FB-7A80B40094C7}"/>
              </a:ext>
            </a:extLst>
          </p:cNvPr>
          <p:cNvSpPr/>
          <p:nvPr/>
        </p:nvSpPr>
        <p:spPr>
          <a:xfrm>
            <a:off x="702307" y="4973730"/>
            <a:ext cx="2380534" cy="622250"/>
          </a:xfrm>
          <a:prstGeom prst="rect">
            <a:avLst/>
          </a:prstGeom>
        </p:spPr>
        <p:txBody>
          <a:bodyPr spcFirstLastPara="0" lIns="89253" tIns="44627" rIns="89253" bIns="0" anchor="t"/>
          <a:lstStyle/>
          <a:p>
            <a:pPr marL="0" marR="0" lvl="0" indent="0" algn="l" defTabSz="856793" rtl="0" eaLnBrk="1" fontAlgn="auto" latinLnBrk="0" hangingPunct="0">
              <a:lnSpc>
                <a:spcPct val="125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First iteration of the M3 Playbook released for use government-wide</a:t>
            </a:r>
            <a:endParaRPr kumimoji="0"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sp>
        <p:nvSpPr>
          <p:cNvPr id="38" name="Body text copy">
            <a:extLst>
              <a:ext uri="{FF2B5EF4-FFF2-40B4-BE49-F238E27FC236}">
                <a16:creationId xmlns:a16="http://schemas.microsoft.com/office/drawing/2014/main" id="{167B1EA0-E093-479F-8546-3C048920D31F}"/>
              </a:ext>
            </a:extLst>
          </p:cNvPr>
          <p:cNvSpPr/>
          <p:nvPr/>
        </p:nvSpPr>
        <p:spPr>
          <a:xfrm>
            <a:off x="494406" y="4598739"/>
            <a:ext cx="2677599" cy="348088"/>
          </a:xfrm>
          <a:prstGeom prst="rect">
            <a:avLst/>
          </a:prstGeom>
        </p:spPr>
        <p:txBody>
          <a:bodyPr spcFirstLastPara="0" lIns="89253" tIns="44627" rIns="89253" bIns="0" anchor="t"/>
          <a:lstStyle/>
          <a:p>
            <a:pPr marL="0" marR="0" lvl="0" indent="0" algn="l" defTabSz="856793" rtl="0" eaLnBrk="1" fontAlgn="auto" latinLnBrk="0" hangingPunct="0">
              <a:lnSpc>
                <a:spcPct val="100000"/>
              </a:lnSpc>
              <a:spcBef>
                <a:spcPts val="0"/>
              </a:spcBef>
              <a:spcAft>
                <a:spcPts val="0"/>
              </a:spcAft>
              <a:buClrTx/>
              <a:buSzTx/>
              <a:buFont typeface="Arial"/>
              <a:buNone/>
              <a:tabLst/>
              <a:defRPr/>
            </a:pPr>
            <a:r>
              <a:rPr kumimoji="0" lang="en-US"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FY18 Update</a:t>
            </a:r>
            <a:endParaRPr kumimoji="0"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sp>
        <p:nvSpPr>
          <p:cNvPr id="39" name="Body text copy">
            <a:extLst>
              <a:ext uri="{FF2B5EF4-FFF2-40B4-BE49-F238E27FC236}">
                <a16:creationId xmlns:a16="http://schemas.microsoft.com/office/drawing/2014/main" id="{75B26AC6-474E-4E45-AB91-7D58C266F301}"/>
              </a:ext>
            </a:extLst>
          </p:cNvPr>
          <p:cNvSpPr/>
          <p:nvPr/>
        </p:nvSpPr>
        <p:spPr>
          <a:xfrm>
            <a:off x="2156191" y="1920297"/>
            <a:ext cx="3128842" cy="622250"/>
          </a:xfrm>
          <a:prstGeom prst="rect">
            <a:avLst/>
          </a:prstGeom>
        </p:spPr>
        <p:txBody>
          <a:bodyPr spcFirstLastPara="0" lIns="89253" tIns="44627" rIns="89253" bIns="0" anchor="t"/>
          <a:lstStyle/>
          <a:p>
            <a:pPr marL="0" marR="0" lvl="0" indent="0" algn="l" defTabSz="856793" rtl="0" eaLnBrk="1" fontAlgn="auto" latinLnBrk="0" hangingPunct="0">
              <a:lnSpc>
                <a:spcPct val="125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F0F0F0"/>
                </a:solidFill>
                <a:effectLst/>
                <a:uLnTx/>
                <a:uFillTx/>
                <a:latin typeface="Arial" panose="020B0604020202020204" pitchFamily="34" charset="0"/>
                <a:ea typeface="+mn-ea"/>
                <a:cs typeface="Arial" panose="020B0604020202020204" pitchFamily="34" charset="0"/>
                <a:sym typeface="Arial"/>
              </a:rPr>
              <a:t>OMB-M-19-16 released, formally establishing Quality Service Management Offices (QSMOs) and resetting the operating model for delivering common services</a:t>
            </a:r>
            <a:endParaRPr kumimoji="0" sz="1400" b="0" i="0" u="none" strike="noStrike" kern="1200" cap="none" spc="0" normalizeH="0" baseline="0" noProof="0" dirty="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sp>
        <p:nvSpPr>
          <p:cNvPr id="40" name="Body text copy">
            <a:extLst>
              <a:ext uri="{FF2B5EF4-FFF2-40B4-BE49-F238E27FC236}">
                <a16:creationId xmlns:a16="http://schemas.microsoft.com/office/drawing/2014/main" id="{19CF91A7-070A-4F95-8A89-7DE9B7085CFB}"/>
              </a:ext>
            </a:extLst>
          </p:cNvPr>
          <p:cNvSpPr/>
          <p:nvPr/>
        </p:nvSpPr>
        <p:spPr>
          <a:xfrm>
            <a:off x="798073" y="1602176"/>
            <a:ext cx="2677599" cy="348088"/>
          </a:xfrm>
          <a:prstGeom prst="rect">
            <a:avLst/>
          </a:prstGeom>
        </p:spPr>
        <p:txBody>
          <a:bodyPr spcFirstLastPara="0" lIns="89253" tIns="44627" rIns="89253" bIns="0" anchor="t"/>
          <a:lstStyle/>
          <a:p>
            <a:pPr marL="0" marR="0" lvl="0" indent="0" algn="ctr" defTabSz="856793" rtl="0" eaLnBrk="1" fontAlgn="auto" latinLnBrk="0" hangingPunct="0">
              <a:lnSpc>
                <a:spcPct val="100000"/>
              </a:lnSpc>
              <a:spcBef>
                <a:spcPts val="0"/>
              </a:spcBef>
              <a:spcAft>
                <a:spcPts val="0"/>
              </a:spcAft>
              <a:buClrTx/>
              <a:buSzTx/>
              <a:buFont typeface="Arial"/>
              <a:buNone/>
              <a:tabLst/>
              <a:defRPr/>
            </a:pPr>
            <a:r>
              <a:rPr kumimoji="0" lang="en-US" sz="1800" b="1" i="0" u="none" strike="noStrike" kern="1200" cap="none" spc="0" normalizeH="0" baseline="0" noProof="0" dirty="0">
                <a:ln>
                  <a:noFill/>
                </a:ln>
                <a:solidFill>
                  <a:srgbClr val="F0F0F0"/>
                </a:solidFill>
                <a:effectLst/>
                <a:uLnTx/>
                <a:uFillTx/>
                <a:latin typeface="Arial" panose="020B0604020202020204" pitchFamily="34" charset="0"/>
                <a:ea typeface="+mn-ea"/>
                <a:cs typeface="Arial" panose="020B0604020202020204" pitchFamily="34" charset="0"/>
                <a:sym typeface="Arial"/>
              </a:rPr>
              <a:t>OMB-M-19-16 Release</a:t>
            </a:r>
            <a:endParaRPr kumimoji="0" sz="1800" b="1" i="0" u="none" strike="noStrike" kern="1200" cap="none" spc="0" normalizeH="0" baseline="0" noProof="0" dirty="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sp>
        <p:nvSpPr>
          <p:cNvPr id="41" name="Body text copy">
            <a:extLst>
              <a:ext uri="{FF2B5EF4-FFF2-40B4-BE49-F238E27FC236}">
                <a16:creationId xmlns:a16="http://schemas.microsoft.com/office/drawing/2014/main" id="{DF67088F-687C-4B70-9F05-9AB05706CCD2}"/>
              </a:ext>
            </a:extLst>
          </p:cNvPr>
          <p:cNvSpPr/>
          <p:nvPr/>
        </p:nvSpPr>
        <p:spPr>
          <a:xfrm>
            <a:off x="4223795" y="4598739"/>
            <a:ext cx="2677599" cy="348088"/>
          </a:xfrm>
          <a:prstGeom prst="rect">
            <a:avLst/>
          </a:prstGeom>
        </p:spPr>
        <p:txBody>
          <a:bodyPr spcFirstLastPara="0" lIns="89253" tIns="44627" rIns="89253" bIns="0" anchor="t"/>
          <a:lstStyle/>
          <a:p>
            <a:pPr marL="0" marR="0" lvl="0" indent="0" algn="ctr" defTabSz="856793" rtl="0" eaLnBrk="1" fontAlgn="auto" latinLnBrk="0" hangingPunct="0">
              <a:lnSpc>
                <a:spcPct val="100000"/>
              </a:lnSpc>
              <a:spcBef>
                <a:spcPts val="0"/>
              </a:spcBef>
              <a:spcAft>
                <a:spcPts val="0"/>
              </a:spcAft>
              <a:buClrTx/>
              <a:buSzTx/>
              <a:buFont typeface="Arial"/>
              <a:buNone/>
              <a:tabLst/>
              <a:defRPr/>
            </a:pPr>
            <a:r>
              <a:rPr kumimoji="0" lang="en-US"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OMB-M-21-20 Release</a:t>
            </a:r>
            <a:endParaRPr kumimoji="0"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sp>
        <p:nvSpPr>
          <p:cNvPr id="42" name="Body text copy">
            <a:extLst>
              <a:ext uri="{FF2B5EF4-FFF2-40B4-BE49-F238E27FC236}">
                <a16:creationId xmlns:a16="http://schemas.microsoft.com/office/drawing/2014/main" id="{CE6FEF0E-AC4E-44AD-8420-E72F99456E7C}"/>
              </a:ext>
            </a:extLst>
          </p:cNvPr>
          <p:cNvSpPr/>
          <p:nvPr/>
        </p:nvSpPr>
        <p:spPr>
          <a:xfrm>
            <a:off x="5155272" y="1804203"/>
            <a:ext cx="3761978" cy="348088"/>
          </a:xfrm>
          <a:prstGeom prst="rect">
            <a:avLst/>
          </a:prstGeom>
        </p:spPr>
        <p:txBody>
          <a:bodyPr spcFirstLastPara="0" lIns="89253" tIns="44627" rIns="89253" bIns="0" anchor="t"/>
          <a:lstStyle/>
          <a:p>
            <a:pPr marL="0" marR="0" lvl="0" indent="0" algn="l" defTabSz="856793" rtl="0" eaLnBrk="1" fontAlgn="auto" latinLnBrk="0" hangingPunct="0">
              <a:lnSpc>
                <a:spcPct val="100000"/>
              </a:lnSpc>
              <a:spcBef>
                <a:spcPts val="0"/>
              </a:spcBef>
              <a:spcAft>
                <a:spcPts val="0"/>
              </a:spcAft>
              <a:buClrTx/>
              <a:buSzTx/>
              <a:buFont typeface="Arial"/>
              <a:buNone/>
              <a:tabLst/>
              <a:defRPr/>
            </a:pPr>
            <a:r>
              <a:rPr kumimoji="0" lang="en-US"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Stakeholder Engagement</a:t>
            </a:r>
            <a:endParaRPr kumimoji="0"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sp>
        <p:nvSpPr>
          <p:cNvPr id="43" name="Body text copy">
            <a:extLst>
              <a:ext uri="{FF2B5EF4-FFF2-40B4-BE49-F238E27FC236}">
                <a16:creationId xmlns:a16="http://schemas.microsoft.com/office/drawing/2014/main" id="{F7849CE4-40A2-4573-BAC8-7EB2D6063DF4}"/>
              </a:ext>
            </a:extLst>
          </p:cNvPr>
          <p:cNvSpPr/>
          <p:nvPr/>
        </p:nvSpPr>
        <p:spPr>
          <a:xfrm>
            <a:off x="8427363" y="4956204"/>
            <a:ext cx="2912976" cy="1894024"/>
          </a:xfrm>
          <a:prstGeom prst="rect">
            <a:avLst/>
          </a:prstGeom>
        </p:spPr>
        <p:txBody>
          <a:bodyPr spcFirstLastPara="0" lIns="89253" tIns="44627" rIns="89253" bIns="0" anchor="t"/>
          <a:lstStyle/>
          <a:p>
            <a:pPr marL="0" marR="0" lvl="0" indent="0" algn="l" defTabSz="856793" rtl="0" eaLnBrk="1" fontAlgn="auto" latinLnBrk="0" hangingPunct="0">
              <a:lnSpc>
                <a:spcPct val="125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Reimagined the look and feel of the M3 Playbook to enhance user experience, improve </a:t>
            </a:r>
            <a:r>
              <a:rPr kumimoji="0" lang="en-US" sz="1400" b="0" i="0" u="none" strike="noStrike" kern="0" cap="none" spc="0" normalizeH="0" baseline="0" noProof="0">
                <a:ln>
                  <a:noFill/>
                </a:ln>
                <a:solidFill>
                  <a:srgbClr val="FFFFFF"/>
                </a:solidFill>
                <a:effectLst/>
                <a:uLnTx/>
                <a:uFillTx/>
                <a:latin typeface="Arial"/>
                <a:ea typeface="+mn-ea"/>
                <a:cs typeface="Arial"/>
                <a:sym typeface="Arial"/>
              </a:rPr>
              <a:t>outcomes, and reduce risk during system and services modernizations and migrations</a:t>
            </a:r>
            <a:endParaRPr kumimoji="0"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4" name="Body text copy">
            <a:extLst>
              <a:ext uri="{FF2B5EF4-FFF2-40B4-BE49-F238E27FC236}">
                <a16:creationId xmlns:a16="http://schemas.microsoft.com/office/drawing/2014/main" id="{0B11469F-7651-48D5-8A9A-1853140F95CD}"/>
              </a:ext>
            </a:extLst>
          </p:cNvPr>
          <p:cNvSpPr/>
          <p:nvPr/>
        </p:nvSpPr>
        <p:spPr>
          <a:xfrm>
            <a:off x="8157659" y="4598739"/>
            <a:ext cx="2677599" cy="348088"/>
          </a:xfrm>
          <a:prstGeom prst="rect">
            <a:avLst/>
          </a:prstGeom>
        </p:spPr>
        <p:txBody>
          <a:bodyPr spcFirstLastPara="0" lIns="89253" tIns="44627" rIns="89253" bIns="0" anchor="t"/>
          <a:lstStyle/>
          <a:p>
            <a:pPr marL="0" marR="0" lvl="0" indent="0" algn="l" defTabSz="856793" rtl="0" eaLnBrk="1" fontAlgn="auto" latinLnBrk="0" hangingPunct="0">
              <a:lnSpc>
                <a:spcPct val="100000"/>
              </a:lnSpc>
              <a:spcBef>
                <a:spcPts val="0"/>
              </a:spcBef>
              <a:spcAft>
                <a:spcPts val="0"/>
              </a:spcAft>
              <a:buClrTx/>
              <a:buSzTx/>
              <a:buFont typeface="Arial"/>
              <a:buNone/>
              <a:tabLst/>
              <a:defRPr/>
            </a:pPr>
            <a:r>
              <a:rPr kumimoji="0" lang="en-US"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FY21 Update</a:t>
            </a:r>
            <a:endParaRPr kumimoji="0"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grpSp>
        <p:nvGrpSpPr>
          <p:cNvPr id="45" name="Group 44">
            <a:extLst>
              <a:ext uri="{FF2B5EF4-FFF2-40B4-BE49-F238E27FC236}">
                <a16:creationId xmlns:a16="http://schemas.microsoft.com/office/drawing/2014/main" id="{7232F451-3DA2-4F59-BEA7-39EAB2E4F425}"/>
              </a:ext>
            </a:extLst>
          </p:cNvPr>
          <p:cNvGrpSpPr/>
          <p:nvPr/>
        </p:nvGrpSpPr>
        <p:grpSpPr>
          <a:xfrm flipH="1">
            <a:off x="7995581" y="4401744"/>
            <a:ext cx="330187" cy="662318"/>
            <a:chOff x="2229102" y="4319529"/>
            <a:chExt cx="330187" cy="662318"/>
          </a:xfrm>
        </p:grpSpPr>
        <p:cxnSp>
          <p:nvCxnSpPr>
            <p:cNvPr id="46" name="Straight Connector 45">
              <a:extLst>
                <a:ext uri="{FF2B5EF4-FFF2-40B4-BE49-F238E27FC236}">
                  <a16:creationId xmlns:a16="http://schemas.microsoft.com/office/drawing/2014/main" id="{43405440-F6AA-44D8-B0C7-80308F98C300}"/>
                </a:ext>
              </a:extLst>
            </p:cNvPr>
            <p:cNvCxnSpPr/>
            <p:nvPr/>
          </p:nvCxnSpPr>
          <p:spPr>
            <a:xfrm>
              <a:off x="2544691" y="4319529"/>
              <a:ext cx="0" cy="662318"/>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AB39E73-53DE-40C0-B135-CFD54537B2A4}"/>
                </a:ext>
              </a:extLst>
            </p:cNvPr>
            <p:cNvCxnSpPr>
              <a:cxnSpLocks/>
            </p:cNvCxnSpPr>
            <p:nvPr/>
          </p:nvCxnSpPr>
          <p:spPr>
            <a:xfrm flipH="1">
              <a:off x="2229102" y="4976795"/>
              <a:ext cx="330187"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grpSp>
      <p:sp>
        <p:nvSpPr>
          <p:cNvPr id="52" name="Body text copy">
            <a:extLst>
              <a:ext uri="{FF2B5EF4-FFF2-40B4-BE49-F238E27FC236}">
                <a16:creationId xmlns:a16="http://schemas.microsoft.com/office/drawing/2014/main" id="{D328207C-15D5-4B03-AF9A-68266730AB3E}"/>
              </a:ext>
            </a:extLst>
          </p:cNvPr>
          <p:cNvSpPr/>
          <p:nvPr/>
        </p:nvSpPr>
        <p:spPr>
          <a:xfrm>
            <a:off x="8249450" y="1665755"/>
            <a:ext cx="2912976" cy="337015"/>
          </a:xfrm>
          <a:prstGeom prst="rect">
            <a:avLst/>
          </a:prstGeom>
        </p:spPr>
        <p:txBody>
          <a:bodyPr spcFirstLastPara="0" lIns="89253" tIns="44627" rIns="89253" bIns="0" anchor="t"/>
          <a:lstStyle/>
          <a:p>
            <a:pPr marL="0" marR="0" lvl="0" indent="0" algn="ctr" defTabSz="856793" rtl="0" eaLnBrk="1" fontAlgn="auto" latinLnBrk="0" hangingPunct="0">
              <a:lnSpc>
                <a:spcPct val="100000"/>
              </a:lnSpc>
              <a:spcBef>
                <a:spcPts val="0"/>
              </a:spcBef>
              <a:spcAft>
                <a:spcPts val="0"/>
              </a:spcAft>
              <a:buClrTx/>
              <a:buSzTx/>
              <a:buFont typeface="Arial"/>
              <a:buNone/>
              <a:tabLst/>
              <a:defRPr/>
            </a:pPr>
            <a:r>
              <a:rPr kumimoji="0" lang="en-US"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Annual Updates</a:t>
            </a:r>
            <a:endParaRPr kumimoji="0" sz="1800" b="1"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sp>
        <p:nvSpPr>
          <p:cNvPr id="54" name="Body text copy">
            <a:extLst>
              <a:ext uri="{FF2B5EF4-FFF2-40B4-BE49-F238E27FC236}">
                <a16:creationId xmlns:a16="http://schemas.microsoft.com/office/drawing/2014/main" id="{6CC46270-652B-4728-BD99-AC26EEF69743}"/>
              </a:ext>
            </a:extLst>
          </p:cNvPr>
          <p:cNvSpPr/>
          <p:nvPr/>
        </p:nvSpPr>
        <p:spPr>
          <a:xfrm>
            <a:off x="9614544" y="1982199"/>
            <a:ext cx="2396883" cy="622250"/>
          </a:xfrm>
          <a:prstGeom prst="rect">
            <a:avLst/>
          </a:prstGeom>
        </p:spPr>
        <p:txBody>
          <a:bodyPr spcFirstLastPara="0" lIns="89253" tIns="44627" rIns="89253" bIns="0" anchor="t"/>
          <a:lstStyle/>
          <a:p>
            <a:pPr marL="0" marR="0" lvl="0" indent="0" algn="l" defTabSz="856793" rtl="0" eaLnBrk="1" fontAlgn="auto" latinLnBrk="0" hangingPunct="0">
              <a:lnSpc>
                <a:spcPct val="125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Synthesize feedback to initiate future annual updates of the M3 Playbook </a:t>
            </a:r>
            <a:endParaRPr kumimoji="0"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grpSp>
        <p:nvGrpSpPr>
          <p:cNvPr id="55" name="Group 54">
            <a:extLst>
              <a:ext uri="{FF2B5EF4-FFF2-40B4-BE49-F238E27FC236}">
                <a16:creationId xmlns:a16="http://schemas.microsoft.com/office/drawing/2014/main" id="{401169E5-49D7-41E7-8B66-39E89B58EE5C}"/>
              </a:ext>
            </a:extLst>
          </p:cNvPr>
          <p:cNvGrpSpPr/>
          <p:nvPr/>
        </p:nvGrpSpPr>
        <p:grpSpPr>
          <a:xfrm>
            <a:off x="6661199" y="4401744"/>
            <a:ext cx="330187" cy="662318"/>
            <a:chOff x="2229102" y="4319529"/>
            <a:chExt cx="330187" cy="662318"/>
          </a:xfrm>
        </p:grpSpPr>
        <p:cxnSp>
          <p:nvCxnSpPr>
            <p:cNvPr id="56" name="Straight Connector 55">
              <a:extLst>
                <a:ext uri="{FF2B5EF4-FFF2-40B4-BE49-F238E27FC236}">
                  <a16:creationId xmlns:a16="http://schemas.microsoft.com/office/drawing/2014/main" id="{E977A08B-8418-451F-A89E-3556984FF28A}"/>
                </a:ext>
              </a:extLst>
            </p:cNvPr>
            <p:cNvCxnSpPr/>
            <p:nvPr/>
          </p:nvCxnSpPr>
          <p:spPr>
            <a:xfrm>
              <a:off x="2544691" y="4319529"/>
              <a:ext cx="0" cy="662318"/>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DA73133-ECF8-4936-976F-16384C246C52}"/>
                </a:ext>
              </a:extLst>
            </p:cNvPr>
            <p:cNvCxnSpPr>
              <a:cxnSpLocks/>
            </p:cNvCxnSpPr>
            <p:nvPr/>
          </p:nvCxnSpPr>
          <p:spPr>
            <a:xfrm flipH="1">
              <a:off x="2229102" y="4976795"/>
              <a:ext cx="330187"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grpSp>
      <p:sp>
        <p:nvSpPr>
          <p:cNvPr id="58" name="Rectangle 57">
            <a:extLst>
              <a:ext uri="{FF2B5EF4-FFF2-40B4-BE49-F238E27FC236}">
                <a16:creationId xmlns:a16="http://schemas.microsoft.com/office/drawing/2014/main" id="{28BAC94A-4938-4103-BB5D-2F009B464DB1}"/>
              </a:ext>
            </a:extLst>
          </p:cNvPr>
          <p:cNvSpPr/>
          <p:nvPr/>
        </p:nvSpPr>
        <p:spPr>
          <a:xfrm>
            <a:off x="9097041" y="3473565"/>
            <a:ext cx="1461300" cy="662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mn-ea"/>
                <a:cs typeface="+mn-cs"/>
              </a:rPr>
              <a:t>Future</a:t>
            </a: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Body text copy">
            <a:extLst>
              <a:ext uri="{FF2B5EF4-FFF2-40B4-BE49-F238E27FC236}">
                <a16:creationId xmlns:a16="http://schemas.microsoft.com/office/drawing/2014/main" id="{3A35D655-07BD-4A9E-B079-6E7E3C8D345F}"/>
              </a:ext>
            </a:extLst>
          </p:cNvPr>
          <p:cNvSpPr/>
          <p:nvPr/>
        </p:nvSpPr>
        <p:spPr>
          <a:xfrm>
            <a:off x="6152079" y="2146032"/>
            <a:ext cx="2738885" cy="1141371"/>
          </a:xfrm>
          <a:prstGeom prst="rect">
            <a:avLst/>
          </a:prstGeom>
        </p:spPr>
        <p:txBody>
          <a:bodyPr spcFirstLastPara="0" lIns="89253" tIns="44627" rIns="89253" bIns="0" anchor="t"/>
          <a:lstStyle/>
          <a:p>
            <a:pPr marL="0" marR="0" lvl="0" indent="0" algn="l" defTabSz="856793" rtl="0" eaLnBrk="1" fontAlgn="auto" latinLnBrk="0" hangingPunct="0">
              <a:lnSpc>
                <a:spcPct val="125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With </a:t>
            </a:r>
            <a:r>
              <a:rPr lang="en-US" kern="1200">
                <a:solidFill>
                  <a:srgbClr val="F0F0F0"/>
                </a:solidFill>
                <a:latin typeface="Arial" panose="020B0604020202020204" pitchFamily="34" charset="0"/>
                <a:ea typeface="+mn-ea"/>
                <a:cs typeface="Arial" panose="020B0604020202020204" pitchFamily="34" charset="0"/>
              </a:rPr>
              <a:t>Federal</a:t>
            </a:r>
            <a:r>
              <a:rPr kumimoji="0" lang="en-US"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 agencies, shared </a:t>
            </a:r>
            <a:r>
              <a:rPr lang="en-US" kern="1200">
                <a:solidFill>
                  <a:srgbClr val="F0F0F0"/>
                </a:solidFill>
                <a:latin typeface="Arial" panose="020B0604020202020204" pitchFamily="34" charset="0"/>
                <a:ea typeface="+mn-ea"/>
                <a:cs typeface="Arial" panose="020B0604020202020204" pitchFamily="34" charset="0"/>
              </a:rPr>
              <a:t>s</a:t>
            </a:r>
            <a:r>
              <a:rPr kumimoji="0" lang="en-US" sz="1400" b="0" i="0" u="none" strike="noStrike" kern="1200" cap="none" spc="0" normalizeH="0" baseline="0" noProof="0" err="1">
                <a:ln>
                  <a:noFill/>
                </a:ln>
                <a:solidFill>
                  <a:srgbClr val="F0F0F0"/>
                </a:solidFill>
                <a:effectLst/>
                <a:uLnTx/>
                <a:uFillTx/>
                <a:latin typeface="Arial" panose="020B0604020202020204" pitchFamily="34" charset="0"/>
                <a:ea typeface="+mn-ea"/>
                <a:cs typeface="Arial" panose="020B0604020202020204" pitchFamily="34" charset="0"/>
                <a:sym typeface="Arial"/>
              </a:rPr>
              <a:t>ervices</a:t>
            </a:r>
            <a:r>
              <a:rPr kumimoji="0" lang="en-US"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 </a:t>
            </a:r>
            <a:r>
              <a:rPr lang="en-US" kern="1200">
                <a:solidFill>
                  <a:srgbClr val="F0F0F0"/>
                </a:solidFill>
                <a:latin typeface="Arial" panose="020B0604020202020204" pitchFamily="34" charset="0"/>
                <a:ea typeface="+mn-ea"/>
                <a:cs typeface="Arial" panose="020B0604020202020204" pitchFamily="34" charset="0"/>
              </a:rPr>
              <a:t>p</a:t>
            </a:r>
            <a:r>
              <a:rPr kumimoji="0" lang="en-US" sz="1400" b="0" i="0" u="none" strike="noStrike" kern="1200" cap="none" spc="0" normalizeH="0" baseline="0" noProof="0" err="1">
                <a:ln>
                  <a:noFill/>
                </a:ln>
                <a:solidFill>
                  <a:srgbClr val="F0F0F0"/>
                </a:solidFill>
                <a:effectLst/>
                <a:uLnTx/>
                <a:uFillTx/>
                <a:latin typeface="Arial" panose="020B0604020202020204" pitchFamily="34" charset="0"/>
                <a:ea typeface="+mn-ea"/>
                <a:cs typeface="Arial" panose="020B0604020202020204" pitchFamily="34" charset="0"/>
                <a:sym typeface="Arial"/>
              </a:rPr>
              <a:t>roviders</a:t>
            </a:r>
            <a:r>
              <a:rPr kumimoji="0" lang="en-US"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 and QSMOs to drive the comprehensive update</a:t>
            </a:r>
            <a:endParaRPr kumimoji="0"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sp>
        <p:nvSpPr>
          <p:cNvPr id="60" name="Body text copy">
            <a:extLst>
              <a:ext uri="{FF2B5EF4-FFF2-40B4-BE49-F238E27FC236}">
                <a16:creationId xmlns:a16="http://schemas.microsoft.com/office/drawing/2014/main" id="{E1899D59-3E8D-444E-8436-3E62D029D3BA}"/>
              </a:ext>
            </a:extLst>
          </p:cNvPr>
          <p:cNvSpPr/>
          <p:nvPr/>
        </p:nvSpPr>
        <p:spPr>
          <a:xfrm>
            <a:off x="3168443" y="4973730"/>
            <a:ext cx="3422971" cy="1127183"/>
          </a:xfrm>
          <a:prstGeom prst="rect">
            <a:avLst/>
          </a:prstGeom>
        </p:spPr>
        <p:txBody>
          <a:bodyPr spcFirstLastPara="0" lIns="89253" tIns="44627" rIns="89253" bIns="0" anchor="t"/>
          <a:lstStyle/>
          <a:p>
            <a:pPr lvl="0" algn="r" defTabSz="856793" hangingPunct="0">
              <a:lnSpc>
                <a:spcPct val="125000"/>
              </a:lnSpc>
              <a:buClrTx/>
              <a:defRPr/>
            </a:pPr>
            <a:r>
              <a:rPr kumimoji="0" lang="en-US"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OMB-M-21-20 released, directing </a:t>
            </a:r>
            <a:r>
              <a:rPr lang="en-US" kern="1200">
                <a:solidFill>
                  <a:srgbClr val="F0F0F0"/>
                </a:solidFill>
                <a:latin typeface="Arial" panose="020B0604020202020204" pitchFamily="34" charset="0"/>
                <a:ea typeface="+mn-ea"/>
                <a:cs typeface="Arial" panose="020B0604020202020204" pitchFamily="34" charset="0"/>
              </a:rPr>
              <a:t>Federal</a:t>
            </a:r>
            <a:r>
              <a:rPr kumimoji="0" lang="en-US"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 </a:t>
            </a:r>
            <a:r>
              <a:rPr lang="en-US" kern="1200">
                <a:solidFill>
                  <a:srgbClr val="F0F0F0"/>
                </a:solidFill>
                <a:latin typeface="Arial" panose="020B0604020202020204" pitchFamily="34" charset="0"/>
                <a:ea typeface="+mn-ea"/>
                <a:cs typeface="Arial" panose="020B0604020202020204" pitchFamily="34" charset="0"/>
              </a:rPr>
              <a:t>a</a:t>
            </a:r>
            <a:r>
              <a:rPr kumimoji="0" lang="en-US" sz="1400" b="0" i="0" u="none" strike="noStrike" kern="1200" cap="none" spc="0" normalizeH="0" baseline="0" noProof="0" err="1">
                <a:ln>
                  <a:noFill/>
                </a:ln>
                <a:solidFill>
                  <a:srgbClr val="F0F0F0"/>
                </a:solidFill>
                <a:effectLst/>
                <a:uLnTx/>
                <a:uFillTx/>
                <a:latin typeface="Arial" panose="020B0604020202020204" pitchFamily="34" charset="0"/>
                <a:ea typeface="+mn-ea"/>
                <a:cs typeface="Arial" panose="020B0604020202020204" pitchFamily="34" charset="0"/>
                <a:sym typeface="Arial"/>
              </a:rPr>
              <a:t>gencies</a:t>
            </a:r>
            <a:r>
              <a:rPr kumimoji="0" lang="en-US"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rPr>
              <a:t> </a:t>
            </a:r>
            <a:r>
              <a:rPr lang="en-US" kern="1200">
                <a:solidFill>
                  <a:srgbClr val="F0F0F0"/>
                </a:solidFill>
                <a:latin typeface="Arial" panose="020B0604020202020204" pitchFamily="34" charset="0"/>
                <a:ea typeface="+mn-ea"/>
                <a:cs typeface="Arial" panose="020B0604020202020204" pitchFamily="34" charset="0"/>
              </a:rPr>
              <a:t>to engage with QSMOs prior to their modernizations to support execution of the </a:t>
            </a:r>
            <a:r>
              <a:rPr lang="en-US" kern="1200">
                <a:solidFill>
                  <a:srgbClr val="F0F0F0"/>
                </a:solidFill>
                <a:latin typeface="Arial" panose="020B0604020202020204" pitchFamily="34" charset="0"/>
                <a:cs typeface="Arial" panose="020B0604020202020204" pitchFamily="34" charset="0"/>
              </a:rPr>
              <a:t>American Rescue Plan (</a:t>
            </a:r>
            <a:r>
              <a:rPr lang="en-US" kern="1200">
                <a:solidFill>
                  <a:srgbClr val="F0F0F0"/>
                </a:solidFill>
                <a:latin typeface="Arial" panose="020B0604020202020204" pitchFamily="34" charset="0"/>
                <a:ea typeface="+mn-ea"/>
                <a:cs typeface="Arial" panose="020B0604020202020204" pitchFamily="34" charset="0"/>
              </a:rPr>
              <a:t>ARP)</a:t>
            </a:r>
            <a:endParaRPr kumimoji="0" sz="1400" b="0" i="0" u="none" strike="noStrike" kern="1200" cap="none" spc="0" normalizeH="0" baseline="0" noProof="0">
              <a:ln>
                <a:noFill/>
              </a:ln>
              <a:solidFill>
                <a:srgbClr val="F0F0F0"/>
              </a:solidFill>
              <a:effectLst/>
              <a:uLnTx/>
              <a:uFillTx/>
              <a:latin typeface="Arial" panose="020B0604020202020204" pitchFamily="34" charset="0"/>
              <a:ea typeface="+mn-ea"/>
              <a:cs typeface="Arial" panose="020B0604020202020204" pitchFamily="34" charset="0"/>
              <a:sym typeface="Arial"/>
            </a:endParaRPr>
          </a:p>
        </p:txBody>
      </p:sp>
      <p:sp>
        <p:nvSpPr>
          <p:cNvPr id="50" name="TextBox 49">
            <a:extLst>
              <a:ext uri="{FF2B5EF4-FFF2-40B4-BE49-F238E27FC236}">
                <a16:creationId xmlns:a16="http://schemas.microsoft.com/office/drawing/2014/main" id="{1C3285D5-5268-4A7D-8964-B5FF513BC1DF}"/>
              </a:ext>
            </a:extLst>
          </p:cNvPr>
          <p:cNvSpPr txBox="1"/>
          <p:nvPr/>
        </p:nvSpPr>
        <p:spPr>
          <a:xfrm>
            <a:off x="3729922" y="6501436"/>
            <a:ext cx="4724400" cy="261610"/>
          </a:xfrm>
          <a:prstGeom prst="rect">
            <a:avLst/>
          </a:prstGeom>
          <a:noFill/>
        </p:spPr>
        <p:txBody>
          <a:bodyPr wrap="square" rtlCol="0">
            <a:spAutoFit/>
          </a:bodyPr>
          <a:lstStyle/>
          <a:p>
            <a:pPr algn="ctr"/>
            <a:r>
              <a:rPr lang="en-US" sz="1100" i="1" dirty="0">
                <a:solidFill>
                  <a:schemeClr val="bg1"/>
                </a:solidFill>
              </a:rPr>
              <a:t>- Last published June 2022 -</a:t>
            </a:r>
          </a:p>
        </p:txBody>
      </p:sp>
    </p:spTree>
    <p:extLst>
      <p:ext uri="{BB962C8B-B14F-4D97-AF65-F5344CB8AC3E}">
        <p14:creationId xmlns:p14="http://schemas.microsoft.com/office/powerpoint/2010/main" val="4195454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048FCD3-A28C-483A-9065-DBF62A13CF5F}"/>
              </a:ext>
            </a:extLst>
          </p:cNvPr>
          <p:cNvGrpSpPr/>
          <p:nvPr/>
        </p:nvGrpSpPr>
        <p:grpSpPr>
          <a:xfrm>
            <a:off x="4479403" y="-72175"/>
            <a:ext cx="7775311" cy="7024227"/>
            <a:chOff x="4843849" y="-62261"/>
            <a:chExt cx="7410866" cy="7014296"/>
          </a:xfrm>
        </p:grpSpPr>
        <p:sp>
          <p:nvSpPr>
            <p:cNvPr id="37" name="Right Triangle 36">
              <a:extLst>
                <a:ext uri="{FF2B5EF4-FFF2-40B4-BE49-F238E27FC236}">
                  <a16:creationId xmlns:a16="http://schemas.microsoft.com/office/drawing/2014/main" id="{38B27DED-4D93-4DDB-8B7E-405B3501437F}"/>
                </a:ext>
              </a:extLst>
            </p:cNvPr>
            <p:cNvSpPr/>
            <p:nvPr/>
          </p:nvSpPr>
          <p:spPr>
            <a:xfrm rot="16200000">
              <a:off x="5042260" y="-209723"/>
              <a:ext cx="6951332" cy="7348154"/>
            </a:xfrm>
            <a:prstGeom prst="rtTriangle">
              <a:avLst/>
            </a:prstGeom>
            <a:solidFill>
              <a:srgbClr val="005EA2"/>
            </a:solidFill>
            <a:ln>
              <a:solidFill>
                <a:srgbClr val="005EA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sym typeface="Arial"/>
              </a:endParaRPr>
            </a:p>
          </p:txBody>
        </p:sp>
        <p:pic>
          <p:nvPicPr>
            <p:cNvPr id="27" name="Picture 26">
              <a:extLst>
                <a:ext uri="{FF2B5EF4-FFF2-40B4-BE49-F238E27FC236}">
                  <a16:creationId xmlns:a16="http://schemas.microsoft.com/office/drawing/2014/main" id="{29A4FE72-6A46-4045-871C-5C16831DF964}"/>
                </a:ext>
              </a:extLst>
            </p:cNvPr>
            <p:cNvPicPr>
              <a:picLocks noChangeAspect="1"/>
            </p:cNvPicPr>
            <p:nvPr/>
          </p:nvPicPr>
          <p:blipFill>
            <a:blip r:embed="rId3"/>
            <a:srcRect l="5067" t="1955"/>
            <a:stretch>
              <a:fillRect/>
            </a:stretch>
          </p:blipFill>
          <p:spPr>
            <a:xfrm>
              <a:off x="4843849" y="-62261"/>
              <a:ext cx="7410866" cy="7014296"/>
            </a:xfrm>
            <a:custGeom>
              <a:avLst/>
              <a:gdLst>
                <a:gd name="connsiteX0" fmla="*/ 7225535 w 7225535"/>
                <a:gd name="connsiteY0" fmla="*/ 0 h 6835335"/>
                <a:gd name="connsiteX1" fmla="*/ 7225535 w 7225535"/>
                <a:gd name="connsiteY1" fmla="*/ 6835335 h 6835335"/>
                <a:gd name="connsiteX2" fmla="*/ 0 w 7225535"/>
                <a:gd name="connsiteY2" fmla="*/ 6835335 h 6835335"/>
                <a:gd name="connsiteX3" fmla="*/ 7225535 w 7225535"/>
                <a:gd name="connsiteY3" fmla="*/ 0 h 6835335"/>
              </a:gdLst>
              <a:ahLst/>
              <a:cxnLst>
                <a:cxn ang="0">
                  <a:pos x="connsiteX0" y="connsiteY0"/>
                </a:cxn>
                <a:cxn ang="0">
                  <a:pos x="connsiteX1" y="connsiteY1"/>
                </a:cxn>
                <a:cxn ang="0">
                  <a:pos x="connsiteX2" y="connsiteY2"/>
                </a:cxn>
                <a:cxn ang="0">
                  <a:pos x="connsiteX3" y="connsiteY3"/>
                </a:cxn>
              </a:cxnLst>
              <a:rect l="l" t="t" r="r" b="b"/>
              <a:pathLst>
                <a:path w="7225535" h="6835335">
                  <a:moveTo>
                    <a:pt x="7225535" y="0"/>
                  </a:moveTo>
                  <a:lnTo>
                    <a:pt x="7225535" y="6835335"/>
                  </a:lnTo>
                  <a:lnTo>
                    <a:pt x="0" y="6835335"/>
                  </a:lnTo>
                  <a:lnTo>
                    <a:pt x="7225535" y="0"/>
                  </a:lnTo>
                  <a:close/>
                </a:path>
              </a:pathLst>
            </a:custGeom>
          </p:spPr>
        </p:pic>
      </p:grpSp>
      <p:sp>
        <p:nvSpPr>
          <p:cNvPr id="2" name="Slide Number Placeholder 1">
            <a:extLst>
              <a:ext uri="{FF2B5EF4-FFF2-40B4-BE49-F238E27FC236}">
                <a16:creationId xmlns:a16="http://schemas.microsoft.com/office/drawing/2014/main" id="{ECF9F030-0FD9-4AF3-BE3F-AA6E653E5A8F}"/>
              </a:ext>
            </a:extLst>
          </p:cNvPr>
          <p:cNvSpPr>
            <a:spLocks noGrp="1"/>
          </p:cNvSpPr>
          <p:nvPr>
            <p:ph type="sldNum" sz="quarter" idx="12"/>
          </p:nvPr>
        </p:nvSpPr>
        <p:spPr>
          <a:xfrm>
            <a:off x="6654385" y="5896554"/>
            <a:ext cx="1999274" cy="342305"/>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DF6943E6-0357-1B40-8726-50F09ABBA837}" type="slidenum">
              <a:rPr kumimoji="0" lang="en-US" sz="1124" b="0" i="0" u="none" strike="noStrike" kern="0" cap="none" spc="0" normalizeH="0" baseline="0" noProof="0" smtClean="0">
                <a:ln>
                  <a:noFill/>
                </a:ln>
                <a:solidFill>
                  <a:prstClr val="black">
                    <a:tint val="75000"/>
                  </a:prstClr>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1124" b="0" i="0" u="none" strike="noStrike" kern="0" cap="none" spc="0" normalizeH="0" baseline="0" noProof="0">
              <a:ln>
                <a:noFill/>
              </a:ln>
              <a:solidFill>
                <a:prstClr val="black">
                  <a:tint val="75000"/>
                </a:prstClr>
              </a:solidFill>
              <a:effectLst/>
              <a:uLnTx/>
              <a:uFillTx/>
              <a:latin typeface="Arial"/>
              <a:ea typeface="+mn-ea"/>
              <a:cs typeface="Arial"/>
              <a:sym typeface="Arial"/>
            </a:endParaRPr>
          </a:p>
        </p:txBody>
      </p:sp>
      <p:grpSp>
        <p:nvGrpSpPr>
          <p:cNvPr id="14" name="Group 13">
            <a:extLst>
              <a:ext uri="{FF2B5EF4-FFF2-40B4-BE49-F238E27FC236}">
                <a16:creationId xmlns:a16="http://schemas.microsoft.com/office/drawing/2014/main" id="{6F363B71-66E9-400A-85AD-F410C0B27F89}"/>
              </a:ext>
            </a:extLst>
          </p:cNvPr>
          <p:cNvGrpSpPr/>
          <p:nvPr/>
        </p:nvGrpSpPr>
        <p:grpSpPr>
          <a:xfrm>
            <a:off x="6550705" y="402363"/>
            <a:ext cx="5377197" cy="6537657"/>
            <a:chOff x="5851105" y="360330"/>
            <a:chExt cx="5616225" cy="7325510"/>
          </a:xfrm>
        </p:grpSpPr>
        <p:pic>
          <p:nvPicPr>
            <p:cNvPr id="4" name="iPad Pro">
              <a:extLst>
                <a:ext uri="{FF2B5EF4-FFF2-40B4-BE49-F238E27FC236}">
                  <a16:creationId xmlns:a16="http://schemas.microsoft.com/office/drawing/2014/main" id="{96E70F77-17FD-44FD-85C8-184D32E06DEB}"/>
                </a:ext>
              </a:extLst>
            </p:cNvPr>
            <p:cNvPicPr/>
            <p:nvPr/>
          </p:nvPicPr>
          <p:blipFill rotWithShape="1">
            <a:blip r:embed="rId4"/>
            <a:stretch>
              <a:fillRect/>
            </a:stretch>
          </p:blipFill>
          <p:spPr>
            <a:xfrm>
              <a:off x="5851105" y="360330"/>
              <a:ext cx="5616225" cy="7325510"/>
            </a:xfrm>
            <a:prstGeom prst="rect">
              <a:avLst/>
            </a:prstGeom>
          </p:spPr>
        </p:pic>
        <p:sp>
          <p:nvSpPr>
            <p:cNvPr id="5" name="Rectangle 4">
              <a:extLst>
                <a:ext uri="{FF2B5EF4-FFF2-40B4-BE49-F238E27FC236}">
                  <a16:creationId xmlns:a16="http://schemas.microsoft.com/office/drawing/2014/main" id="{A06EFB47-DE98-4923-A09B-67408341421C}"/>
                </a:ext>
              </a:extLst>
            </p:cNvPr>
            <p:cNvSpPr/>
            <p:nvPr/>
          </p:nvSpPr>
          <p:spPr>
            <a:xfrm>
              <a:off x="6223385" y="745738"/>
              <a:ext cx="4873070" cy="6499396"/>
            </a:xfrm>
            <a:prstGeom prst="rect">
              <a:avLst/>
            </a:prstGeom>
            <a:solidFill>
              <a:srgbClr val="FFFF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sym typeface="Arial"/>
              </a:endParaRPr>
            </a:p>
          </p:txBody>
        </p:sp>
        <p:pic>
          <p:nvPicPr>
            <p:cNvPr id="6" name="Picture 5" descr="Graphical user interface, application&#10;&#10;Description automatically generated">
              <a:extLst>
                <a:ext uri="{FF2B5EF4-FFF2-40B4-BE49-F238E27FC236}">
                  <a16:creationId xmlns:a16="http://schemas.microsoft.com/office/drawing/2014/main" id="{10404328-62BD-4339-A2E5-0045EDD0C93A}"/>
                </a:ext>
              </a:extLst>
            </p:cNvPr>
            <p:cNvPicPr>
              <a:picLocks noChangeAspect="1"/>
            </p:cNvPicPr>
            <p:nvPr/>
          </p:nvPicPr>
          <p:blipFill rotWithShape="1">
            <a:blip r:embed="rId5"/>
            <a:srcRect l="60903" t="11819" r="567" b="5862"/>
            <a:stretch/>
          </p:blipFill>
          <p:spPr>
            <a:xfrm>
              <a:off x="6298315" y="827761"/>
              <a:ext cx="4721804" cy="5984240"/>
            </a:xfrm>
            <a:prstGeom prst="rect">
              <a:avLst/>
            </a:prstGeom>
          </p:spPr>
        </p:pic>
      </p:grpSp>
      <p:cxnSp>
        <p:nvCxnSpPr>
          <p:cNvPr id="8" name="Straight Connector 7">
            <a:extLst>
              <a:ext uri="{FF2B5EF4-FFF2-40B4-BE49-F238E27FC236}">
                <a16:creationId xmlns:a16="http://schemas.microsoft.com/office/drawing/2014/main" id="{5FF49508-7DF2-4C4A-9C41-1DEAB5664FFE}"/>
              </a:ext>
            </a:extLst>
          </p:cNvPr>
          <p:cNvCxnSpPr>
            <a:cxnSpLocks/>
          </p:cNvCxnSpPr>
          <p:nvPr/>
        </p:nvCxnSpPr>
        <p:spPr>
          <a:xfrm>
            <a:off x="-6032" y="955339"/>
            <a:ext cx="6163558" cy="0"/>
          </a:xfrm>
          <a:prstGeom prst="line">
            <a:avLst/>
          </a:prstGeom>
          <a:ln>
            <a:solidFill>
              <a:srgbClr val="92D050"/>
            </a:solidFill>
          </a:ln>
        </p:spPr>
        <p:style>
          <a:lnRef idx="1">
            <a:schemeClr val="dk1"/>
          </a:lnRef>
          <a:fillRef idx="0">
            <a:schemeClr val="dk1"/>
          </a:fillRef>
          <a:effectRef idx="0">
            <a:schemeClr val="dk1"/>
          </a:effectRef>
          <a:fontRef idx="minor">
            <a:schemeClr val="tx1"/>
          </a:fontRef>
        </p:style>
      </p:cxnSp>
      <p:sp>
        <p:nvSpPr>
          <p:cNvPr id="10" name="Title 4">
            <a:extLst>
              <a:ext uri="{FF2B5EF4-FFF2-40B4-BE49-F238E27FC236}">
                <a16:creationId xmlns:a16="http://schemas.microsoft.com/office/drawing/2014/main" id="{DC31B71A-592D-4B39-807E-B62238D047DC}"/>
              </a:ext>
            </a:extLst>
          </p:cNvPr>
          <p:cNvSpPr txBox="1">
            <a:spLocks/>
          </p:cNvSpPr>
          <p:nvPr/>
        </p:nvSpPr>
        <p:spPr>
          <a:xfrm>
            <a:off x="269109" y="328505"/>
            <a:ext cx="10938293" cy="855691"/>
          </a:xfrm>
          <a:prstGeom prst="rect">
            <a:avLst/>
          </a:prstGeom>
        </p:spPr>
        <p:txBody>
          <a:bodyPr vert="horz" lIns="91440" tIns="45720" rIns="91440" bIns="45720" rtlCol="0" anchor="ct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200" b="1" i="0" u="none" strike="noStrike" cap="none">
                <a:solidFill>
                  <a:srgbClr val="015089"/>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1" i="0" u="none" strike="noStrike" kern="0" cap="none" spc="0" normalizeH="0" baseline="0" noProof="0">
                <a:ln>
                  <a:noFill/>
                </a:ln>
                <a:solidFill>
                  <a:srgbClr val="015089"/>
                </a:solidFill>
                <a:effectLst/>
                <a:uLnTx/>
                <a:uFillTx/>
                <a:latin typeface="Arial"/>
                <a:cs typeface="Arial"/>
                <a:sym typeface="Arial"/>
              </a:rPr>
              <a:t>M3 Annual Update Objectives</a:t>
            </a:r>
          </a:p>
        </p:txBody>
      </p:sp>
      <p:sp>
        <p:nvSpPr>
          <p:cNvPr id="11" name="TextBox 10">
            <a:extLst>
              <a:ext uri="{FF2B5EF4-FFF2-40B4-BE49-F238E27FC236}">
                <a16:creationId xmlns:a16="http://schemas.microsoft.com/office/drawing/2014/main" id="{F98581D9-FC98-4114-88FE-5C38C0A31550}"/>
              </a:ext>
            </a:extLst>
          </p:cNvPr>
          <p:cNvSpPr txBox="1"/>
          <p:nvPr/>
        </p:nvSpPr>
        <p:spPr>
          <a:xfrm>
            <a:off x="991777" y="2610798"/>
            <a:ext cx="4746478" cy="320087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1200"/>
              </a:spcBef>
              <a:spcAft>
                <a:spcPts val="0"/>
              </a:spcAft>
              <a:buClr>
                <a:schemeClr val="tx2"/>
              </a:buClr>
              <a:buSzTx/>
              <a:buFont typeface="Arial" panose="020B0604020202020204" pitchFamily="34" charset="0"/>
              <a:buChar char="•"/>
              <a:tabLst/>
              <a:defRPr/>
            </a:pPr>
            <a:r>
              <a:rPr lang="en-US" sz="1800" b="1">
                <a:solidFill>
                  <a:srgbClr val="005087"/>
                </a:solidFill>
                <a:ea typeface="+mn-ea"/>
              </a:rPr>
              <a:t>Soliciting Customer Feedback</a:t>
            </a:r>
            <a:endParaRPr kumimoji="0" lang="en-US" sz="1800" b="1" i="0" u="none" strike="noStrike" kern="0" cap="none" spc="0" normalizeH="0" baseline="0" noProof="0">
              <a:ln>
                <a:noFill/>
              </a:ln>
              <a:solidFill>
                <a:srgbClr val="005087"/>
              </a:solidFill>
              <a:effectLst/>
              <a:uLnTx/>
              <a:uFillTx/>
              <a:latin typeface="Arial"/>
              <a:ea typeface="+mn-ea"/>
              <a:cs typeface="Arial"/>
              <a:sym typeface="Arial"/>
            </a:endParaRPr>
          </a:p>
          <a:p>
            <a:pPr marL="285750" marR="0" lvl="0" indent="-285750" algn="l" defTabSz="914400" rtl="0" eaLnBrk="1" fontAlgn="auto" latinLnBrk="0" hangingPunct="1">
              <a:lnSpc>
                <a:spcPct val="100000"/>
              </a:lnSpc>
              <a:spcBef>
                <a:spcPts val="1200"/>
              </a:spcBef>
              <a:spcAft>
                <a:spcPts val="0"/>
              </a:spcAft>
              <a:buClr>
                <a:schemeClr val="tx2"/>
              </a:buClr>
              <a:buSzTx/>
              <a:buFont typeface="Arial" panose="020B0604020202020204" pitchFamily="34" charset="0"/>
              <a:buChar char="•"/>
              <a:tabLst/>
              <a:defRPr/>
            </a:pPr>
            <a:r>
              <a:rPr lang="en-US" sz="1800" b="1">
                <a:solidFill>
                  <a:srgbClr val="005087"/>
                </a:solidFill>
                <a:ea typeface="+mn-ea"/>
              </a:rPr>
              <a:t>Comprehensive Content Review and Updates</a:t>
            </a:r>
          </a:p>
          <a:p>
            <a:pPr marL="285750" marR="0" lvl="0" indent="-285750" algn="l" defTabSz="914400" rtl="0" eaLnBrk="1" fontAlgn="auto" latinLnBrk="0" hangingPunct="1">
              <a:lnSpc>
                <a:spcPct val="100000"/>
              </a:lnSpc>
              <a:spcBef>
                <a:spcPts val="1200"/>
              </a:spcBef>
              <a:spcAft>
                <a:spcPts val="0"/>
              </a:spcAft>
              <a:buClr>
                <a:schemeClr val="tx2"/>
              </a:buClr>
              <a:buSzTx/>
              <a:buFont typeface="Arial" panose="020B0604020202020204" pitchFamily="34" charset="0"/>
              <a:buChar char="•"/>
              <a:tabLst/>
              <a:defRPr/>
            </a:pPr>
            <a:r>
              <a:rPr lang="en-US" sz="1800" b="1">
                <a:solidFill>
                  <a:srgbClr val="005087"/>
                </a:solidFill>
                <a:ea typeface="+mn-ea"/>
              </a:rPr>
              <a:t>Incorporating New Value-Add Activities</a:t>
            </a:r>
          </a:p>
          <a:p>
            <a:pPr marL="285750" lvl="0" indent="-285750">
              <a:spcBef>
                <a:spcPts val="1200"/>
              </a:spcBef>
              <a:buClr>
                <a:schemeClr val="tx2"/>
              </a:buClr>
              <a:buFont typeface="Arial" panose="020B0604020202020204" pitchFamily="34" charset="0"/>
              <a:buChar char="•"/>
            </a:pPr>
            <a:r>
              <a:rPr lang="en-US" sz="1800" b="1">
                <a:solidFill>
                  <a:srgbClr val="005087"/>
                </a:solidFill>
                <a:ea typeface="+mn-ea"/>
              </a:rPr>
              <a:t>Aligning the Playbook to Authoritative Policy Guidance</a:t>
            </a:r>
          </a:p>
          <a:p>
            <a:pPr marL="285750" lvl="0" indent="-285750">
              <a:spcBef>
                <a:spcPts val="1200"/>
              </a:spcBef>
              <a:buClr>
                <a:schemeClr val="tx2"/>
              </a:buClr>
              <a:buFont typeface="Arial" panose="020B0604020202020204" pitchFamily="34" charset="0"/>
              <a:buChar char="•"/>
            </a:pPr>
            <a:r>
              <a:rPr kumimoji="0" lang="en-US" sz="1800" b="1" i="0" u="none" strike="noStrike" kern="0" cap="none" spc="0" normalizeH="0" baseline="0" noProof="0">
                <a:ln>
                  <a:noFill/>
                </a:ln>
                <a:solidFill>
                  <a:srgbClr val="005087"/>
                </a:solidFill>
                <a:effectLst/>
                <a:uLnTx/>
                <a:uFillTx/>
                <a:latin typeface="Arial"/>
                <a:ea typeface="+mn-ea"/>
                <a:cs typeface="Arial"/>
                <a:sym typeface="Arial"/>
              </a:rPr>
              <a:t>Incorporating Modernization</a:t>
            </a:r>
            <a:r>
              <a:rPr lang="en-US" sz="1800" b="1">
                <a:solidFill>
                  <a:srgbClr val="005087"/>
                </a:solidFill>
                <a:ea typeface="+mn-ea"/>
              </a:rPr>
              <a:t> Best Practices</a:t>
            </a:r>
            <a:endParaRPr kumimoji="0" lang="en-US" sz="1800" b="1" i="0" u="none" strike="noStrike" kern="0" cap="none" spc="0" normalizeH="0" baseline="0" noProof="0">
              <a:ln>
                <a:noFill/>
              </a:ln>
              <a:solidFill>
                <a:srgbClr val="005087"/>
              </a:solidFill>
              <a:effectLst/>
              <a:uLnTx/>
              <a:uFillTx/>
              <a:ea typeface="+mn-ea"/>
              <a:sym typeface="Arial"/>
            </a:endParaRPr>
          </a:p>
        </p:txBody>
      </p:sp>
      <p:sp>
        <p:nvSpPr>
          <p:cNvPr id="15" name="TextBox 14">
            <a:extLst>
              <a:ext uri="{FF2B5EF4-FFF2-40B4-BE49-F238E27FC236}">
                <a16:creationId xmlns:a16="http://schemas.microsoft.com/office/drawing/2014/main" id="{87156849-4CF5-44A2-A60F-FC4188997314}"/>
              </a:ext>
            </a:extLst>
          </p:cNvPr>
          <p:cNvSpPr txBox="1"/>
          <p:nvPr/>
        </p:nvSpPr>
        <p:spPr>
          <a:xfrm>
            <a:off x="384347" y="1046326"/>
            <a:ext cx="5337188" cy="1323439"/>
          </a:xfrm>
          <a:prstGeom prst="rect">
            <a:avLst/>
          </a:prstGeom>
          <a:noFill/>
        </p:spPr>
        <p:txBody>
          <a:bodyPr wrap="square" rtlCol="0">
            <a:spAutoFit/>
          </a:bodyPr>
          <a:lstStyle/>
          <a:p>
            <a:pPr lvl="0">
              <a:buClrTx/>
              <a:defRPr/>
            </a:pPr>
            <a:r>
              <a:rPr lang="en-US" sz="1600" kern="1200">
                <a:solidFill>
                  <a:srgbClr val="005087"/>
                </a:solidFill>
              </a:rPr>
              <a:t>The M3 Playbook is updated on an annual basis. These updates are influenced by feedback collected through engagement with Federal agencies, shared services providers, the QSMOs, and other key stakeholders. The high-level objectives of the annual updates include:</a:t>
            </a:r>
          </a:p>
        </p:txBody>
      </p:sp>
      <p:sp>
        <p:nvSpPr>
          <p:cNvPr id="16" name="TextBox 15">
            <a:extLst>
              <a:ext uri="{FF2B5EF4-FFF2-40B4-BE49-F238E27FC236}">
                <a16:creationId xmlns:a16="http://schemas.microsoft.com/office/drawing/2014/main" id="{E2BA3DFB-45F2-4D80-8156-D3C586B55845}"/>
              </a:ext>
            </a:extLst>
          </p:cNvPr>
          <p:cNvSpPr txBox="1"/>
          <p:nvPr/>
        </p:nvSpPr>
        <p:spPr>
          <a:xfrm>
            <a:off x="690741" y="6543727"/>
            <a:ext cx="4724400" cy="261610"/>
          </a:xfrm>
          <a:prstGeom prst="rect">
            <a:avLst/>
          </a:prstGeom>
          <a:noFill/>
        </p:spPr>
        <p:txBody>
          <a:bodyPr wrap="square" rtlCol="0">
            <a:spAutoFit/>
          </a:bodyPr>
          <a:lstStyle/>
          <a:p>
            <a:pPr algn="ctr"/>
            <a:r>
              <a:rPr lang="en-US" sz="1100" i="1" dirty="0">
                <a:solidFill>
                  <a:srgbClr val="005087"/>
                </a:solidFill>
              </a:rPr>
              <a:t>- Last published June 2022 -</a:t>
            </a:r>
          </a:p>
        </p:txBody>
      </p:sp>
      <p:sp>
        <p:nvSpPr>
          <p:cNvPr id="18" name="Footer Placeholder 2">
            <a:extLst>
              <a:ext uri="{FF2B5EF4-FFF2-40B4-BE49-F238E27FC236}">
                <a16:creationId xmlns:a16="http://schemas.microsoft.com/office/drawing/2014/main" id="{9051D85A-8AAF-44A5-858B-0A7C073CE438}"/>
              </a:ext>
            </a:extLst>
          </p:cNvPr>
          <p:cNvSpPr txBox="1">
            <a:spLocks/>
          </p:cNvSpPr>
          <p:nvPr/>
        </p:nvSpPr>
        <p:spPr>
          <a:xfrm>
            <a:off x="8077200" y="76362"/>
            <a:ext cx="3499448" cy="254259"/>
          </a:xfrm>
          <a:prstGeom prst="rect">
            <a:avLst/>
          </a:prstGeom>
        </p:spPr>
        <p:txBody>
          <a:bodyPr vert="horz" lIns="91440" tIns="45720" rIns="9144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1" u="none" strike="noStrike" cap="none">
                <a:solidFill>
                  <a:srgbClr val="005087"/>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rgbClr val="005087"/>
                </a:solidFill>
                <a:effectLst/>
                <a:uLnTx/>
                <a:uFillTx/>
                <a:latin typeface="Arial"/>
                <a:cs typeface="Arial"/>
                <a:sym typeface="Arial"/>
              </a:rPr>
              <a:t>M3 Playbook Orientation</a:t>
            </a:r>
          </a:p>
        </p:txBody>
      </p:sp>
      <p:sp>
        <p:nvSpPr>
          <p:cNvPr id="19" name="Slide Number Placeholder 1">
            <a:extLst>
              <a:ext uri="{FF2B5EF4-FFF2-40B4-BE49-F238E27FC236}">
                <a16:creationId xmlns:a16="http://schemas.microsoft.com/office/drawing/2014/main" id="{CAA86E53-6AF6-4612-B246-9BF72FB3E6E4}"/>
              </a:ext>
            </a:extLst>
          </p:cNvPr>
          <p:cNvSpPr txBox="1">
            <a:spLocks/>
          </p:cNvSpPr>
          <p:nvPr/>
        </p:nvSpPr>
        <p:spPr>
          <a:xfrm>
            <a:off x="11384557" y="6371886"/>
            <a:ext cx="731600" cy="524700"/>
          </a:xfrm>
          <a:prstGeom prst="rect">
            <a:avLst/>
          </a:prstGeom>
        </p:spPr>
        <p:txBody>
          <a:bodyPr vert="horz" lIns="91440" tIns="45720" rIns="91440" bIns="45720"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24"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defRPr/>
            </a:pPr>
            <a:fld id="{00000000-1234-1234-1234-123412341234}" type="slidenum">
              <a:rPr lang="en" sz="1200" b="1" smtClean="0">
                <a:solidFill>
                  <a:schemeClr val="bg1"/>
                </a:solidFill>
                <a:ea typeface="+mn-ea"/>
              </a:rPr>
              <a:pPr algn="r">
                <a:defRPr/>
              </a:pPr>
              <a:t>9</a:t>
            </a:fld>
            <a:endParaRPr lang="en" sz="1200" b="1">
              <a:solidFill>
                <a:schemeClr val="bg1"/>
              </a:solidFill>
              <a:ea typeface="+mn-ea"/>
            </a:endParaRPr>
          </a:p>
        </p:txBody>
      </p:sp>
    </p:spTree>
    <p:extLst>
      <p:ext uri="{BB962C8B-B14F-4D97-AF65-F5344CB8AC3E}">
        <p14:creationId xmlns:p14="http://schemas.microsoft.com/office/powerpoint/2010/main" val="4064025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5JrwzDMRCSB5becoGQa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SMO Client 16:9">
  <a:themeElements>
    <a:clrScheme name="GSA">
      <a:dk1>
        <a:srgbClr val="212121"/>
      </a:dk1>
      <a:lt1>
        <a:srgbClr val="FFFFFF"/>
      </a:lt1>
      <a:dk2>
        <a:srgbClr val="175191"/>
      </a:dk2>
      <a:lt2>
        <a:srgbClr val="F2F2F2"/>
      </a:lt2>
      <a:accent1>
        <a:srgbClr val="0B2644"/>
      </a:accent1>
      <a:accent2>
        <a:srgbClr val="113D6D"/>
      </a:accent2>
      <a:accent3>
        <a:srgbClr val="D7B429"/>
      </a:accent3>
      <a:accent4>
        <a:srgbClr val="1487C5"/>
      </a:accent4>
      <a:accent5>
        <a:srgbClr val="97999B"/>
      </a:accent5>
      <a:accent6>
        <a:srgbClr val="6AA84F"/>
      </a:accent6>
      <a:hlink>
        <a:srgbClr val="001E5E"/>
      </a:hlink>
      <a:folHlink>
        <a:srgbClr val="CAFFF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rgbClr val="17519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A9A9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chor="ctr">
        <a:noAutofit/>
      </a:bodyPr>
      <a:lstStyle>
        <a:defPPr algn="ctr">
          <a:defRPr dirty="0" err="1" smtClean="0"/>
        </a:defPPr>
      </a:lstStyle>
    </a:txDef>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 Copy.pptx" id="{8DEA76FD-3931-4F93-81DC-9C46984748C9}" vid="{D95EEFC0-08D4-44AC-8909-48E78D5143AE}"/>
    </a:ext>
  </a:extLst>
</a:theme>
</file>

<file path=ppt/theme/theme2.xml><?xml version="1.0" encoding="utf-8"?>
<a:theme xmlns:a="http://schemas.openxmlformats.org/drawingml/2006/main" name="GSA">
  <a:themeElements>
    <a:clrScheme name="GSA">
      <a:dk1>
        <a:srgbClr val="005087"/>
      </a:dk1>
      <a:lt1>
        <a:srgbClr val="FFFFFF"/>
      </a:lt1>
      <a:dk2>
        <a:srgbClr val="002060"/>
      </a:dk2>
      <a:lt2>
        <a:srgbClr val="EEEEEE"/>
      </a:lt2>
      <a:accent1>
        <a:srgbClr val="92D050"/>
      </a:accent1>
      <a:accent2>
        <a:srgbClr val="007236"/>
      </a:accent2>
      <a:accent3>
        <a:srgbClr val="CAAE01"/>
      </a:accent3>
      <a:accent4>
        <a:srgbClr val="B11116"/>
      </a:accent4>
      <a:accent5>
        <a:srgbClr val="F7941E"/>
      </a:accent5>
      <a:accent6>
        <a:srgbClr val="A3238E"/>
      </a:accent6>
      <a:hlink>
        <a:srgbClr val="0095DA"/>
      </a:hlink>
      <a:folHlink>
        <a:srgbClr val="0095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0B8C99F64A42E469AF5DDBB1C68AE93" ma:contentTypeVersion="12" ma:contentTypeDescription="Create a new document." ma:contentTypeScope="" ma:versionID="7e293460965dace3fcf8edf0ef7c0c22">
  <xsd:schema xmlns:xsd="http://www.w3.org/2001/XMLSchema" xmlns:xs="http://www.w3.org/2001/XMLSchema" xmlns:p="http://schemas.microsoft.com/office/2006/metadata/properties" xmlns:ns3="c69e7d1d-3db1-49be-ba8c-a1fb8f3ff7c8" xmlns:ns4="8e18e98f-1cba-41e2-b9ee-f27252e1a3b4" targetNamespace="http://schemas.microsoft.com/office/2006/metadata/properties" ma:root="true" ma:fieldsID="eb3a6ae94f0536313928c50afb08fac0" ns3:_="" ns4:_="">
    <xsd:import namespace="c69e7d1d-3db1-49be-ba8c-a1fb8f3ff7c8"/>
    <xsd:import namespace="8e18e98f-1cba-41e2-b9ee-f27252e1a3b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9e7d1d-3db1-49be-ba8c-a1fb8f3ff7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18e98f-1cba-41e2-b9ee-f27252e1a3b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8e18e98f-1cba-41e2-b9ee-f27252e1a3b4">
      <UserInfo>
        <DisplayName>Limited Access System Group</DisplayName>
        <AccountId>26</AccountId>
        <AccountType/>
      </UserInfo>
      <UserInfo>
        <DisplayName>Heffernan, Eric</DisplayName>
        <AccountId>18</AccountId>
        <AccountType/>
      </UserInfo>
      <UserInfo>
        <DisplayName>Iglesias, Anna</DisplayName>
        <AccountId>24</AccountId>
        <AccountType/>
      </UserInfo>
      <UserInfo>
        <DisplayName>SharingLinks.2947e875-f3bf-4d1e-aa0c-4535ee86a602.Flexible.4163cdf5-2854-4ab1-b52f-847918e362c2</DisplayName>
        <AccountId>25</AccountId>
        <AccountType/>
      </UserInfo>
      <UserInfo>
        <DisplayName>Terpilowski, Gavin</DisplayName>
        <AccountId>7</AccountId>
        <AccountType/>
      </UserInfo>
    </SharedWithUsers>
  </documentManagement>
</p:properties>
</file>

<file path=customXml/itemProps1.xml><?xml version="1.0" encoding="utf-8"?>
<ds:datastoreItem xmlns:ds="http://schemas.openxmlformats.org/officeDocument/2006/customXml" ds:itemID="{54C04F04-D705-4F5C-8878-DDEA38AEDA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69e7d1d-3db1-49be-ba8c-a1fb8f3ff7c8"/>
    <ds:schemaRef ds:uri="8e18e98f-1cba-41e2-b9ee-f27252e1a3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3FE1A8-C3AB-4913-A988-6D9ADB0DDA06}">
  <ds:schemaRefs>
    <ds:schemaRef ds:uri="http://schemas.microsoft.com/sharepoint/v3/contenttype/forms"/>
  </ds:schemaRefs>
</ds:datastoreItem>
</file>

<file path=customXml/itemProps3.xml><?xml version="1.0" encoding="utf-8"?>
<ds:datastoreItem xmlns:ds="http://schemas.openxmlformats.org/officeDocument/2006/customXml" ds:itemID="{247B868D-FC78-4BA1-AF0B-355B4E9DEECA}">
  <ds:schemaRefs>
    <ds:schemaRef ds:uri="http://schemas.microsoft.com/office/infopath/2007/PartnerControls"/>
    <ds:schemaRef ds:uri="http://www.w3.org/XML/1998/namespace"/>
    <ds:schemaRef ds:uri="http://schemas.microsoft.com/office/2006/metadata/properties"/>
    <ds:schemaRef ds:uri="c69e7d1d-3db1-49be-ba8c-a1fb8f3ff7c8"/>
    <ds:schemaRef ds:uri="http://purl.org/dc/dcmitype/"/>
    <ds:schemaRef ds:uri="http://schemas.microsoft.com/office/2006/documentManagement/types"/>
    <ds:schemaRef ds:uri="http://purl.org/dc/terms/"/>
    <ds:schemaRef ds:uri="http://schemas.openxmlformats.org/package/2006/metadata/core-properties"/>
    <ds:schemaRef ds:uri="8e18e98f-1cba-41e2-b9ee-f27252e1a3b4"/>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4750</TotalTime>
  <Words>2919</Words>
  <Application>Microsoft Office PowerPoint</Application>
  <PresentationFormat>Widescreen</PresentationFormat>
  <Paragraphs>393</Paragraphs>
  <Slides>25</Slides>
  <Notes>14</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4" baseType="lpstr">
      <vt:lpstr>Abel</vt:lpstr>
      <vt:lpstr>Arial</vt:lpstr>
      <vt:lpstr>Bentham</vt:lpstr>
      <vt:lpstr>Calibri</vt:lpstr>
      <vt:lpstr>Wingdings</vt:lpstr>
      <vt:lpstr>QSMO Client 16:9</vt:lpstr>
      <vt:lpstr>GSA</vt:lpstr>
      <vt:lpstr>Office Theme</vt:lpstr>
      <vt:lpstr>think-cell Slide</vt:lpstr>
      <vt:lpstr>PowerPoint Presentation</vt:lpstr>
      <vt:lpstr>PowerPoint Presentation</vt:lpstr>
      <vt:lpstr>Modernization and Migration Challenges</vt:lpstr>
      <vt:lpstr>M3 Framework Introduction - Video </vt:lpstr>
      <vt:lpstr>M3 Framework Introduction</vt:lpstr>
      <vt:lpstr>M3 Playbook Introduction - Video </vt:lpstr>
      <vt:lpstr>What is the M3 Playbook?</vt:lpstr>
      <vt:lpstr>M3 Playbook Journey</vt:lpstr>
      <vt:lpstr>PowerPoint Presentation</vt:lpstr>
      <vt:lpstr> </vt:lpstr>
      <vt:lpstr>Quality Service Management Office (QSMO) - Video</vt:lpstr>
      <vt:lpstr>M3 Playbook Intended Use</vt:lpstr>
      <vt:lpstr>Federal Agencies </vt:lpstr>
      <vt:lpstr>Shared Services Providers</vt:lpstr>
      <vt:lpstr>Phases of M3 - Video </vt:lpstr>
      <vt:lpstr>Phases of the M3</vt:lpstr>
      <vt:lpstr>Phase 0: Assessment</vt:lpstr>
      <vt:lpstr>Phase 1: Readiness</vt:lpstr>
      <vt:lpstr>Phase 2: Selection</vt:lpstr>
      <vt:lpstr>Phase 3: Engagement</vt:lpstr>
      <vt:lpstr>Phase 4: Migration</vt:lpstr>
      <vt:lpstr>Phase 5: Operations</vt:lpstr>
      <vt:lpstr>Benefits to M3 Playbook Users </vt:lpstr>
      <vt:lpstr>Resource Materia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ocato, Josie</dc:creator>
  <cp:lastModifiedBy>Brocato, Josie</cp:lastModifiedBy>
  <cp:revision>17</cp:revision>
  <dcterms:created xsi:type="dcterms:W3CDTF">2021-10-05T15:54:40Z</dcterms:created>
  <dcterms:modified xsi:type="dcterms:W3CDTF">2022-06-27T16:2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B8C99F64A42E469AF5DDBB1C68AE93</vt:lpwstr>
  </property>
</Properties>
</file>